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</p:sldIdLst>
  <p:sldSz cx="12192000" cy="6858000"/>
  <p:notesSz cx="6858000" cy="9144000"/>
  <p:custDataLst>
    <p:tags r:id="rId20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EBEB"/>
    <a:srgbClr val="F5F5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890A15A-E005-484C-858B-6AC90B883B4C}" v="9" dt="2022-12-22T09:44:24.65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875" autoAdjust="0"/>
  </p:normalViewPr>
  <p:slideViewPr>
    <p:cSldViewPr snapToGrid="0">
      <p:cViewPr>
        <p:scale>
          <a:sx n="50" d="100"/>
          <a:sy n="50" d="100"/>
        </p:scale>
        <p:origin x="931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ttore Minelli" userId="7870a1ad-01cf-4239-8cce-750deae7f4ef" providerId="ADAL" clId="{0FDC7236-0C66-43F6-99AF-1100E6B9ED67}"/>
    <pc:docChg chg="undo custSel addSld modSld modMainMaster replTag">
      <pc:chgData name="Ettore Minelli" userId="7870a1ad-01cf-4239-8cce-750deae7f4ef" providerId="ADAL" clId="{0FDC7236-0C66-43F6-99AF-1100E6B9ED67}" dt="2022-11-02T12:01:41.609" v="6514" actId="164"/>
      <pc:docMkLst>
        <pc:docMk/>
      </pc:docMkLst>
      <pc:sldChg chg="addSp delSp modSp new mod">
        <pc:chgData name="Ettore Minelli" userId="7870a1ad-01cf-4239-8cce-750deae7f4ef" providerId="ADAL" clId="{0FDC7236-0C66-43F6-99AF-1100E6B9ED67}" dt="2022-10-25T10:29:18.968" v="459" actId="1076"/>
        <pc:sldMkLst>
          <pc:docMk/>
          <pc:sldMk cId="1323648543" sldId="256"/>
        </pc:sldMkLst>
        <pc:spChg chg="del">
          <ac:chgData name="Ettore Minelli" userId="7870a1ad-01cf-4239-8cce-750deae7f4ef" providerId="ADAL" clId="{0FDC7236-0C66-43F6-99AF-1100E6B9ED67}" dt="2022-10-25T10:04:14.430" v="1" actId="478"/>
          <ac:spMkLst>
            <pc:docMk/>
            <pc:sldMk cId="1323648543" sldId="256"/>
            <ac:spMk id="2" creationId="{30BDD29B-4C6E-43DE-A140-4D79661E007F}"/>
          </ac:spMkLst>
        </pc:spChg>
        <pc:spChg chg="del">
          <ac:chgData name="Ettore Minelli" userId="7870a1ad-01cf-4239-8cce-750deae7f4ef" providerId="ADAL" clId="{0FDC7236-0C66-43F6-99AF-1100E6B9ED67}" dt="2022-10-25T10:04:15.814" v="2" actId="478"/>
          <ac:spMkLst>
            <pc:docMk/>
            <pc:sldMk cId="1323648543" sldId="256"/>
            <ac:spMk id="3" creationId="{B57924D1-D015-44EE-BFF4-4FCB28C167F4}"/>
          </ac:spMkLst>
        </pc:spChg>
        <pc:spChg chg="add mod topLvl">
          <ac:chgData name="Ettore Minelli" userId="7870a1ad-01cf-4239-8cce-750deae7f4ef" providerId="ADAL" clId="{0FDC7236-0C66-43F6-99AF-1100E6B9ED67}" dt="2022-10-25T10:29:17.077" v="458" actId="164"/>
          <ac:spMkLst>
            <pc:docMk/>
            <pc:sldMk cId="1323648543" sldId="256"/>
            <ac:spMk id="4" creationId="{8103A7B9-F119-4E32-BBA5-82BED753F773}"/>
          </ac:spMkLst>
        </pc:spChg>
        <pc:spChg chg="add mod topLvl">
          <ac:chgData name="Ettore Minelli" userId="7870a1ad-01cf-4239-8cce-750deae7f4ef" providerId="ADAL" clId="{0FDC7236-0C66-43F6-99AF-1100E6B9ED67}" dt="2022-10-25T10:29:17.077" v="458" actId="164"/>
          <ac:spMkLst>
            <pc:docMk/>
            <pc:sldMk cId="1323648543" sldId="256"/>
            <ac:spMk id="5" creationId="{590E5142-B001-4B22-81F3-D144A769297B}"/>
          </ac:spMkLst>
        </pc:spChg>
        <pc:spChg chg="add mod topLvl">
          <ac:chgData name="Ettore Minelli" userId="7870a1ad-01cf-4239-8cce-750deae7f4ef" providerId="ADAL" clId="{0FDC7236-0C66-43F6-99AF-1100E6B9ED67}" dt="2022-10-25T10:29:17.077" v="458" actId="164"/>
          <ac:spMkLst>
            <pc:docMk/>
            <pc:sldMk cId="1323648543" sldId="256"/>
            <ac:spMk id="6" creationId="{F2E66E18-7D5E-47E9-AA81-E784D208CED9}"/>
          </ac:spMkLst>
        </pc:spChg>
        <pc:spChg chg="add del">
          <ac:chgData name="Ettore Minelli" userId="7870a1ad-01cf-4239-8cce-750deae7f4ef" providerId="ADAL" clId="{0FDC7236-0C66-43F6-99AF-1100E6B9ED67}" dt="2022-10-25T10:10:04.065" v="113" actId="478"/>
          <ac:spMkLst>
            <pc:docMk/>
            <pc:sldMk cId="1323648543" sldId="256"/>
            <ac:spMk id="8" creationId="{470CEAD3-05DE-4C4B-ADC9-B3DF980F2866}"/>
          </ac:spMkLst>
        </pc:spChg>
        <pc:spChg chg="add del">
          <ac:chgData name="Ettore Minelli" userId="7870a1ad-01cf-4239-8cce-750deae7f4ef" providerId="ADAL" clId="{0FDC7236-0C66-43F6-99AF-1100E6B9ED67}" dt="2022-10-25T10:10:12.268" v="115" actId="11529"/>
          <ac:spMkLst>
            <pc:docMk/>
            <pc:sldMk cId="1323648543" sldId="256"/>
            <ac:spMk id="9" creationId="{19EE1D9B-1157-410A-AFFF-8B8DCD498E0C}"/>
          </ac:spMkLst>
        </pc:spChg>
        <pc:spChg chg="add mod topLvl">
          <ac:chgData name="Ettore Minelli" userId="7870a1ad-01cf-4239-8cce-750deae7f4ef" providerId="ADAL" clId="{0FDC7236-0C66-43F6-99AF-1100E6B9ED67}" dt="2022-10-25T10:29:17.077" v="458" actId="164"/>
          <ac:spMkLst>
            <pc:docMk/>
            <pc:sldMk cId="1323648543" sldId="256"/>
            <ac:spMk id="10" creationId="{B91AB4AA-64EF-4C71-8027-C72F3817D097}"/>
          </ac:spMkLst>
        </pc:spChg>
        <pc:spChg chg="add mod">
          <ac:chgData name="Ettore Minelli" userId="7870a1ad-01cf-4239-8cce-750deae7f4ef" providerId="ADAL" clId="{0FDC7236-0C66-43F6-99AF-1100E6B9ED67}" dt="2022-10-25T10:29:17.077" v="458" actId="164"/>
          <ac:spMkLst>
            <pc:docMk/>
            <pc:sldMk cId="1323648543" sldId="256"/>
            <ac:spMk id="25" creationId="{031F2714-5053-4B72-A014-88EA8983AA18}"/>
          </ac:spMkLst>
        </pc:spChg>
        <pc:spChg chg="add mod">
          <ac:chgData name="Ettore Minelli" userId="7870a1ad-01cf-4239-8cce-750deae7f4ef" providerId="ADAL" clId="{0FDC7236-0C66-43F6-99AF-1100E6B9ED67}" dt="2022-10-25T10:29:17.077" v="458" actId="164"/>
          <ac:spMkLst>
            <pc:docMk/>
            <pc:sldMk cId="1323648543" sldId="256"/>
            <ac:spMk id="26" creationId="{03FEE01C-22DE-402C-9125-E6CC0D24F889}"/>
          </ac:spMkLst>
        </pc:spChg>
        <pc:spChg chg="add mod">
          <ac:chgData name="Ettore Minelli" userId="7870a1ad-01cf-4239-8cce-750deae7f4ef" providerId="ADAL" clId="{0FDC7236-0C66-43F6-99AF-1100E6B9ED67}" dt="2022-10-25T10:29:17.077" v="458" actId="164"/>
          <ac:spMkLst>
            <pc:docMk/>
            <pc:sldMk cId="1323648543" sldId="256"/>
            <ac:spMk id="33" creationId="{A14766AC-A89C-429D-85E4-C4EA285EFF7D}"/>
          </ac:spMkLst>
        </pc:spChg>
        <pc:spChg chg="add mod">
          <ac:chgData name="Ettore Minelli" userId="7870a1ad-01cf-4239-8cce-750deae7f4ef" providerId="ADAL" clId="{0FDC7236-0C66-43F6-99AF-1100E6B9ED67}" dt="2022-10-25T10:29:17.077" v="458" actId="164"/>
          <ac:spMkLst>
            <pc:docMk/>
            <pc:sldMk cId="1323648543" sldId="256"/>
            <ac:spMk id="34" creationId="{7B6E4EF0-BD0F-4781-AC17-DB5495416556}"/>
          </ac:spMkLst>
        </pc:spChg>
        <pc:spChg chg="add mod">
          <ac:chgData name="Ettore Minelli" userId="7870a1ad-01cf-4239-8cce-750deae7f4ef" providerId="ADAL" clId="{0FDC7236-0C66-43F6-99AF-1100E6B9ED67}" dt="2022-10-25T10:29:17.077" v="458" actId="164"/>
          <ac:spMkLst>
            <pc:docMk/>
            <pc:sldMk cId="1323648543" sldId="256"/>
            <ac:spMk id="35" creationId="{5FE9D871-F41C-4D36-A44E-189BB1D98276}"/>
          </ac:spMkLst>
        </pc:spChg>
        <pc:spChg chg="add mod">
          <ac:chgData name="Ettore Minelli" userId="7870a1ad-01cf-4239-8cce-750deae7f4ef" providerId="ADAL" clId="{0FDC7236-0C66-43F6-99AF-1100E6B9ED67}" dt="2022-10-25T10:29:17.077" v="458" actId="164"/>
          <ac:spMkLst>
            <pc:docMk/>
            <pc:sldMk cId="1323648543" sldId="256"/>
            <ac:spMk id="36" creationId="{1A3A140C-317A-4879-A711-947C9D772C89}"/>
          </ac:spMkLst>
        </pc:spChg>
        <pc:spChg chg="add mod">
          <ac:chgData name="Ettore Minelli" userId="7870a1ad-01cf-4239-8cce-750deae7f4ef" providerId="ADAL" clId="{0FDC7236-0C66-43F6-99AF-1100E6B9ED67}" dt="2022-10-25T10:29:17.077" v="458" actId="164"/>
          <ac:spMkLst>
            <pc:docMk/>
            <pc:sldMk cId="1323648543" sldId="256"/>
            <ac:spMk id="37" creationId="{2D3AFD23-ACA0-43A9-B4F4-C006FED81752}"/>
          </ac:spMkLst>
        </pc:spChg>
        <pc:spChg chg="add mod">
          <ac:chgData name="Ettore Minelli" userId="7870a1ad-01cf-4239-8cce-750deae7f4ef" providerId="ADAL" clId="{0FDC7236-0C66-43F6-99AF-1100E6B9ED67}" dt="2022-10-25T10:29:17.077" v="458" actId="164"/>
          <ac:spMkLst>
            <pc:docMk/>
            <pc:sldMk cId="1323648543" sldId="256"/>
            <ac:spMk id="38" creationId="{D8DAD43F-B986-4101-BE0C-4CE7511C4960}"/>
          </ac:spMkLst>
        </pc:spChg>
        <pc:spChg chg="add mod">
          <ac:chgData name="Ettore Minelli" userId="7870a1ad-01cf-4239-8cce-750deae7f4ef" providerId="ADAL" clId="{0FDC7236-0C66-43F6-99AF-1100E6B9ED67}" dt="2022-10-25T10:29:17.077" v="458" actId="164"/>
          <ac:spMkLst>
            <pc:docMk/>
            <pc:sldMk cId="1323648543" sldId="256"/>
            <ac:spMk id="39" creationId="{9898BA5F-867E-41B5-AF76-2AC3DBC74D99}"/>
          </ac:spMkLst>
        </pc:spChg>
        <pc:spChg chg="add mod">
          <ac:chgData name="Ettore Minelli" userId="7870a1ad-01cf-4239-8cce-750deae7f4ef" providerId="ADAL" clId="{0FDC7236-0C66-43F6-99AF-1100E6B9ED67}" dt="2022-10-25T10:29:17.077" v="458" actId="164"/>
          <ac:spMkLst>
            <pc:docMk/>
            <pc:sldMk cId="1323648543" sldId="256"/>
            <ac:spMk id="40" creationId="{6680DD48-B00C-4837-A72D-F95E3E4D75BA}"/>
          </ac:spMkLst>
        </pc:spChg>
        <pc:grpChg chg="add del mod">
          <ac:chgData name="Ettore Minelli" userId="7870a1ad-01cf-4239-8cce-750deae7f4ef" providerId="ADAL" clId="{0FDC7236-0C66-43F6-99AF-1100E6B9ED67}" dt="2022-10-25T10:09:24.148" v="111" actId="165"/>
          <ac:grpSpMkLst>
            <pc:docMk/>
            <pc:sldMk cId="1323648543" sldId="256"/>
            <ac:grpSpMk id="7" creationId="{641FAAA0-EE28-4524-BE9A-8E79380E44D7}"/>
          </ac:grpSpMkLst>
        </pc:grpChg>
        <pc:grpChg chg="add del mod">
          <ac:chgData name="Ettore Minelli" userId="7870a1ad-01cf-4239-8cce-750deae7f4ef" providerId="ADAL" clId="{0FDC7236-0C66-43F6-99AF-1100E6B9ED67}" dt="2022-10-25T10:13:15.451" v="160" actId="165"/>
          <ac:grpSpMkLst>
            <pc:docMk/>
            <pc:sldMk cId="1323648543" sldId="256"/>
            <ac:grpSpMk id="16" creationId="{494E8666-B79B-4C49-93BE-77EACE56DD30}"/>
          </ac:grpSpMkLst>
        </pc:grpChg>
        <pc:grpChg chg="add mod">
          <ac:chgData name="Ettore Minelli" userId="7870a1ad-01cf-4239-8cce-750deae7f4ef" providerId="ADAL" clId="{0FDC7236-0C66-43F6-99AF-1100E6B9ED67}" dt="2022-10-25T10:29:18.968" v="459" actId="1076"/>
          <ac:grpSpMkLst>
            <pc:docMk/>
            <pc:sldMk cId="1323648543" sldId="256"/>
            <ac:grpSpMk id="86" creationId="{51427CA7-CD3B-4D15-BD25-DD72B524C81A}"/>
          </ac:grpSpMkLst>
        </pc:grpChg>
        <pc:cxnChg chg="add del mod topLvl">
          <ac:chgData name="Ettore Minelli" userId="7870a1ad-01cf-4239-8cce-750deae7f4ef" providerId="ADAL" clId="{0FDC7236-0C66-43F6-99AF-1100E6B9ED67}" dt="2022-10-25T10:13:19.132" v="162" actId="478"/>
          <ac:cxnSpMkLst>
            <pc:docMk/>
            <pc:sldMk cId="1323648543" sldId="256"/>
            <ac:cxnSpMk id="12" creationId="{593D976F-E421-4713-B86F-9EE5770D87A3}"/>
          </ac:cxnSpMkLst>
        </pc:cxnChg>
        <pc:cxnChg chg="add del mod">
          <ac:chgData name="Ettore Minelli" userId="7870a1ad-01cf-4239-8cce-750deae7f4ef" providerId="ADAL" clId="{0FDC7236-0C66-43F6-99AF-1100E6B9ED67}" dt="2022-10-25T10:11:47.331" v="147" actId="478"/>
          <ac:cxnSpMkLst>
            <pc:docMk/>
            <pc:sldMk cId="1323648543" sldId="256"/>
            <ac:cxnSpMk id="13" creationId="{12192064-5661-4F7C-ADFA-988680278556}"/>
          </ac:cxnSpMkLst>
        </pc:cxnChg>
        <pc:cxnChg chg="add del mod topLvl">
          <ac:chgData name="Ettore Minelli" userId="7870a1ad-01cf-4239-8cce-750deae7f4ef" providerId="ADAL" clId="{0FDC7236-0C66-43F6-99AF-1100E6B9ED67}" dt="2022-10-25T10:13:18.408" v="161" actId="478"/>
          <ac:cxnSpMkLst>
            <pc:docMk/>
            <pc:sldMk cId="1323648543" sldId="256"/>
            <ac:cxnSpMk id="15" creationId="{F76CE6D0-3EB2-422B-B636-3BD56F9E4162}"/>
          </ac:cxnSpMkLst>
        </pc:cxnChg>
        <pc:cxnChg chg="add mod">
          <ac:chgData name="Ettore Minelli" userId="7870a1ad-01cf-4239-8cce-750deae7f4ef" providerId="ADAL" clId="{0FDC7236-0C66-43F6-99AF-1100E6B9ED67}" dt="2022-10-25T10:29:17.077" v="458" actId="164"/>
          <ac:cxnSpMkLst>
            <pc:docMk/>
            <pc:sldMk cId="1323648543" sldId="256"/>
            <ac:cxnSpMk id="18" creationId="{34F5B009-7E21-443C-A0FE-A9366089287D}"/>
          </ac:cxnSpMkLst>
        </pc:cxnChg>
        <pc:cxnChg chg="add mod">
          <ac:chgData name="Ettore Minelli" userId="7870a1ad-01cf-4239-8cce-750deae7f4ef" providerId="ADAL" clId="{0FDC7236-0C66-43F6-99AF-1100E6B9ED67}" dt="2022-10-25T10:29:17.077" v="458" actId="164"/>
          <ac:cxnSpMkLst>
            <pc:docMk/>
            <pc:sldMk cId="1323648543" sldId="256"/>
            <ac:cxnSpMk id="19" creationId="{4E2B6926-031F-4473-8671-146CC106407A}"/>
          </ac:cxnSpMkLst>
        </pc:cxnChg>
        <pc:cxnChg chg="add mod">
          <ac:chgData name="Ettore Minelli" userId="7870a1ad-01cf-4239-8cce-750deae7f4ef" providerId="ADAL" clId="{0FDC7236-0C66-43F6-99AF-1100E6B9ED67}" dt="2022-10-25T10:29:17.077" v="458" actId="164"/>
          <ac:cxnSpMkLst>
            <pc:docMk/>
            <pc:sldMk cId="1323648543" sldId="256"/>
            <ac:cxnSpMk id="22" creationId="{A583C8A2-F4AC-49F3-B72F-50E1ED026B71}"/>
          </ac:cxnSpMkLst>
        </pc:cxnChg>
        <pc:cxnChg chg="add mod">
          <ac:chgData name="Ettore Minelli" userId="7870a1ad-01cf-4239-8cce-750deae7f4ef" providerId="ADAL" clId="{0FDC7236-0C66-43F6-99AF-1100E6B9ED67}" dt="2022-10-25T10:29:17.077" v="458" actId="164"/>
          <ac:cxnSpMkLst>
            <pc:docMk/>
            <pc:sldMk cId="1323648543" sldId="256"/>
            <ac:cxnSpMk id="27" creationId="{0CF1763F-D447-4507-8908-2E27B90147C0}"/>
          </ac:cxnSpMkLst>
        </pc:cxnChg>
        <pc:cxnChg chg="add mod">
          <ac:chgData name="Ettore Minelli" userId="7870a1ad-01cf-4239-8cce-750deae7f4ef" providerId="ADAL" clId="{0FDC7236-0C66-43F6-99AF-1100E6B9ED67}" dt="2022-10-25T10:29:17.077" v="458" actId="164"/>
          <ac:cxnSpMkLst>
            <pc:docMk/>
            <pc:sldMk cId="1323648543" sldId="256"/>
            <ac:cxnSpMk id="30" creationId="{6D3A8021-C853-445E-A954-4AC59EE38D29}"/>
          </ac:cxnSpMkLst>
        </pc:cxnChg>
        <pc:cxnChg chg="add del mod">
          <ac:chgData name="Ettore Minelli" userId="7870a1ad-01cf-4239-8cce-750deae7f4ef" providerId="ADAL" clId="{0FDC7236-0C66-43F6-99AF-1100E6B9ED67}" dt="2022-10-25T10:23:55.732" v="393" actId="478"/>
          <ac:cxnSpMkLst>
            <pc:docMk/>
            <pc:sldMk cId="1323648543" sldId="256"/>
            <ac:cxnSpMk id="51" creationId="{F678CA27-7052-49E2-94C8-2B7EE98FA491}"/>
          </ac:cxnSpMkLst>
        </pc:cxnChg>
        <pc:cxnChg chg="add del mod">
          <ac:chgData name="Ettore Minelli" userId="7870a1ad-01cf-4239-8cce-750deae7f4ef" providerId="ADAL" clId="{0FDC7236-0C66-43F6-99AF-1100E6B9ED67}" dt="2022-10-25T10:25:47.224" v="421" actId="478"/>
          <ac:cxnSpMkLst>
            <pc:docMk/>
            <pc:sldMk cId="1323648543" sldId="256"/>
            <ac:cxnSpMk id="53" creationId="{2A00160F-5D3B-4A37-9366-E8F6635A4665}"/>
          </ac:cxnSpMkLst>
        </pc:cxnChg>
        <pc:cxnChg chg="add del mod">
          <ac:chgData name="Ettore Minelli" userId="7870a1ad-01cf-4239-8cce-750deae7f4ef" providerId="ADAL" clId="{0FDC7236-0C66-43F6-99AF-1100E6B9ED67}" dt="2022-10-25T10:24:15.392" v="399" actId="478"/>
          <ac:cxnSpMkLst>
            <pc:docMk/>
            <pc:sldMk cId="1323648543" sldId="256"/>
            <ac:cxnSpMk id="54" creationId="{FAE37BBB-34A6-44BA-9A4B-B55B25256224}"/>
          </ac:cxnSpMkLst>
        </pc:cxnChg>
        <pc:cxnChg chg="add mod">
          <ac:chgData name="Ettore Minelli" userId="7870a1ad-01cf-4239-8cce-750deae7f4ef" providerId="ADAL" clId="{0FDC7236-0C66-43F6-99AF-1100E6B9ED67}" dt="2022-10-25T10:29:17.077" v="458" actId="164"/>
          <ac:cxnSpMkLst>
            <pc:docMk/>
            <pc:sldMk cId="1323648543" sldId="256"/>
            <ac:cxnSpMk id="57" creationId="{2EDFE4D0-4ECE-4CEE-99F7-C1519C088D3C}"/>
          </ac:cxnSpMkLst>
        </pc:cxnChg>
        <pc:cxnChg chg="add del mod">
          <ac:chgData name="Ettore Minelli" userId="7870a1ad-01cf-4239-8cce-750deae7f4ef" providerId="ADAL" clId="{0FDC7236-0C66-43F6-99AF-1100E6B9ED67}" dt="2022-10-25T10:25:41.175" v="419" actId="478"/>
          <ac:cxnSpMkLst>
            <pc:docMk/>
            <pc:sldMk cId="1323648543" sldId="256"/>
            <ac:cxnSpMk id="58" creationId="{3941ABA7-A250-4231-A7BA-51641470496F}"/>
          </ac:cxnSpMkLst>
        </pc:cxnChg>
        <pc:cxnChg chg="add del mod">
          <ac:chgData name="Ettore Minelli" userId="7870a1ad-01cf-4239-8cce-750deae7f4ef" providerId="ADAL" clId="{0FDC7236-0C66-43F6-99AF-1100E6B9ED67}" dt="2022-10-25T10:25:39.319" v="418" actId="478"/>
          <ac:cxnSpMkLst>
            <pc:docMk/>
            <pc:sldMk cId="1323648543" sldId="256"/>
            <ac:cxnSpMk id="61" creationId="{5A4FABDB-E886-4CC7-85BC-788641D6B918}"/>
          </ac:cxnSpMkLst>
        </pc:cxnChg>
        <pc:cxnChg chg="add del mod">
          <ac:chgData name="Ettore Minelli" userId="7870a1ad-01cf-4239-8cce-750deae7f4ef" providerId="ADAL" clId="{0FDC7236-0C66-43F6-99AF-1100E6B9ED67}" dt="2022-10-25T10:25:37.191" v="417" actId="478"/>
          <ac:cxnSpMkLst>
            <pc:docMk/>
            <pc:sldMk cId="1323648543" sldId="256"/>
            <ac:cxnSpMk id="64" creationId="{51490835-90B3-49F4-8B76-D75B3BD32A1A}"/>
          </ac:cxnSpMkLst>
        </pc:cxnChg>
        <pc:cxnChg chg="add mod">
          <ac:chgData name="Ettore Minelli" userId="7870a1ad-01cf-4239-8cce-750deae7f4ef" providerId="ADAL" clId="{0FDC7236-0C66-43F6-99AF-1100E6B9ED67}" dt="2022-10-25T10:29:17.077" v="458" actId="164"/>
          <ac:cxnSpMkLst>
            <pc:docMk/>
            <pc:sldMk cId="1323648543" sldId="256"/>
            <ac:cxnSpMk id="66" creationId="{83DBAD8D-C743-47CC-A644-A38B3826476B}"/>
          </ac:cxnSpMkLst>
        </pc:cxnChg>
        <pc:cxnChg chg="add mod">
          <ac:chgData name="Ettore Minelli" userId="7870a1ad-01cf-4239-8cce-750deae7f4ef" providerId="ADAL" clId="{0FDC7236-0C66-43F6-99AF-1100E6B9ED67}" dt="2022-10-25T10:29:17.077" v="458" actId="164"/>
          <ac:cxnSpMkLst>
            <pc:docMk/>
            <pc:sldMk cId="1323648543" sldId="256"/>
            <ac:cxnSpMk id="68" creationId="{7E530E6C-F58C-45DE-BF9A-30C40B255F0A}"/>
          </ac:cxnSpMkLst>
        </pc:cxnChg>
        <pc:cxnChg chg="add mod">
          <ac:chgData name="Ettore Minelli" userId="7870a1ad-01cf-4239-8cce-750deae7f4ef" providerId="ADAL" clId="{0FDC7236-0C66-43F6-99AF-1100E6B9ED67}" dt="2022-10-25T10:29:17.077" v="458" actId="164"/>
          <ac:cxnSpMkLst>
            <pc:docMk/>
            <pc:sldMk cId="1323648543" sldId="256"/>
            <ac:cxnSpMk id="70" creationId="{BBA2B489-9966-4DB3-B5B4-5B557B6C8076}"/>
          </ac:cxnSpMkLst>
        </pc:cxnChg>
        <pc:cxnChg chg="add mod">
          <ac:chgData name="Ettore Minelli" userId="7870a1ad-01cf-4239-8cce-750deae7f4ef" providerId="ADAL" clId="{0FDC7236-0C66-43F6-99AF-1100E6B9ED67}" dt="2022-10-25T10:29:17.077" v="458" actId="164"/>
          <ac:cxnSpMkLst>
            <pc:docMk/>
            <pc:sldMk cId="1323648543" sldId="256"/>
            <ac:cxnSpMk id="72" creationId="{6A32EB6D-02D1-42FC-B10F-93A14EEFAF5A}"/>
          </ac:cxnSpMkLst>
        </pc:cxnChg>
        <pc:cxnChg chg="add mod">
          <ac:chgData name="Ettore Minelli" userId="7870a1ad-01cf-4239-8cce-750deae7f4ef" providerId="ADAL" clId="{0FDC7236-0C66-43F6-99AF-1100E6B9ED67}" dt="2022-10-25T10:29:17.077" v="458" actId="164"/>
          <ac:cxnSpMkLst>
            <pc:docMk/>
            <pc:sldMk cId="1323648543" sldId="256"/>
            <ac:cxnSpMk id="74" creationId="{E0AC21F6-173B-47A2-BEEE-C06E0C1208F2}"/>
          </ac:cxnSpMkLst>
        </pc:cxnChg>
        <pc:cxnChg chg="add mod">
          <ac:chgData name="Ettore Minelli" userId="7870a1ad-01cf-4239-8cce-750deae7f4ef" providerId="ADAL" clId="{0FDC7236-0C66-43F6-99AF-1100E6B9ED67}" dt="2022-10-25T10:29:17.077" v="458" actId="164"/>
          <ac:cxnSpMkLst>
            <pc:docMk/>
            <pc:sldMk cId="1323648543" sldId="256"/>
            <ac:cxnSpMk id="76" creationId="{B2F10781-5C57-4A86-AE94-E0DB2D308675}"/>
          </ac:cxnSpMkLst>
        </pc:cxnChg>
        <pc:cxnChg chg="add mod">
          <ac:chgData name="Ettore Minelli" userId="7870a1ad-01cf-4239-8cce-750deae7f4ef" providerId="ADAL" clId="{0FDC7236-0C66-43F6-99AF-1100E6B9ED67}" dt="2022-10-25T10:29:17.077" v="458" actId="164"/>
          <ac:cxnSpMkLst>
            <pc:docMk/>
            <pc:sldMk cId="1323648543" sldId="256"/>
            <ac:cxnSpMk id="78" creationId="{DBACE92A-ED63-4BB1-A774-7FD62BCA0D22}"/>
          </ac:cxnSpMkLst>
        </pc:cxnChg>
        <pc:cxnChg chg="add mod">
          <ac:chgData name="Ettore Minelli" userId="7870a1ad-01cf-4239-8cce-750deae7f4ef" providerId="ADAL" clId="{0FDC7236-0C66-43F6-99AF-1100E6B9ED67}" dt="2022-10-25T10:29:17.077" v="458" actId="164"/>
          <ac:cxnSpMkLst>
            <pc:docMk/>
            <pc:sldMk cId="1323648543" sldId="256"/>
            <ac:cxnSpMk id="79" creationId="{8D404D31-798D-4AEB-9246-EA38ADF4BA9C}"/>
          </ac:cxnSpMkLst>
        </pc:cxnChg>
        <pc:cxnChg chg="add mod">
          <ac:chgData name="Ettore Minelli" userId="7870a1ad-01cf-4239-8cce-750deae7f4ef" providerId="ADAL" clId="{0FDC7236-0C66-43F6-99AF-1100E6B9ED67}" dt="2022-10-25T10:29:17.077" v="458" actId="164"/>
          <ac:cxnSpMkLst>
            <pc:docMk/>
            <pc:sldMk cId="1323648543" sldId="256"/>
            <ac:cxnSpMk id="81" creationId="{ACD01FA1-D62A-4D16-B190-8962F0B98F04}"/>
          </ac:cxnSpMkLst>
        </pc:cxnChg>
        <pc:cxnChg chg="add mod">
          <ac:chgData name="Ettore Minelli" userId="7870a1ad-01cf-4239-8cce-750deae7f4ef" providerId="ADAL" clId="{0FDC7236-0C66-43F6-99AF-1100E6B9ED67}" dt="2022-10-25T10:29:17.077" v="458" actId="164"/>
          <ac:cxnSpMkLst>
            <pc:docMk/>
            <pc:sldMk cId="1323648543" sldId="256"/>
            <ac:cxnSpMk id="83" creationId="{606418B7-7FF3-4793-B119-C87D354E439F}"/>
          </ac:cxnSpMkLst>
        </pc:cxnChg>
        <pc:cxnChg chg="add mod">
          <ac:chgData name="Ettore Minelli" userId="7870a1ad-01cf-4239-8cce-750deae7f4ef" providerId="ADAL" clId="{0FDC7236-0C66-43F6-99AF-1100E6B9ED67}" dt="2022-10-25T10:29:17.077" v="458" actId="164"/>
          <ac:cxnSpMkLst>
            <pc:docMk/>
            <pc:sldMk cId="1323648543" sldId="256"/>
            <ac:cxnSpMk id="85" creationId="{36BBFD6F-2BED-4A69-BCF0-B00B36656008}"/>
          </ac:cxnSpMkLst>
        </pc:cxnChg>
      </pc:sldChg>
      <pc:sldChg chg="addSp delSp modSp add mod">
        <pc:chgData name="Ettore Minelli" userId="7870a1ad-01cf-4239-8cce-750deae7f4ef" providerId="ADAL" clId="{0FDC7236-0C66-43F6-99AF-1100E6B9ED67}" dt="2022-10-25T12:15:57.336" v="713"/>
        <pc:sldMkLst>
          <pc:docMk/>
          <pc:sldMk cId="614647594" sldId="257"/>
        </pc:sldMkLst>
        <pc:spChg chg="mod topLvl">
          <ac:chgData name="Ettore Minelli" userId="7870a1ad-01cf-4239-8cce-750deae7f4ef" providerId="ADAL" clId="{0FDC7236-0C66-43F6-99AF-1100E6B9ED67}" dt="2022-10-25T12:15:53.200" v="711" actId="164"/>
          <ac:spMkLst>
            <pc:docMk/>
            <pc:sldMk cId="614647594" sldId="257"/>
            <ac:spMk id="4" creationId="{8103A7B9-F119-4E32-BBA5-82BED753F773}"/>
          </ac:spMkLst>
        </pc:spChg>
        <pc:spChg chg="mod topLvl">
          <ac:chgData name="Ettore Minelli" userId="7870a1ad-01cf-4239-8cce-750deae7f4ef" providerId="ADAL" clId="{0FDC7236-0C66-43F6-99AF-1100E6B9ED67}" dt="2022-10-25T12:15:53.200" v="711" actId="164"/>
          <ac:spMkLst>
            <pc:docMk/>
            <pc:sldMk cId="614647594" sldId="257"/>
            <ac:spMk id="5" creationId="{590E5142-B001-4B22-81F3-D144A769297B}"/>
          </ac:spMkLst>
        </pc:spChg>
        <pc:spChg chg="mod topLvl">
          <ac:chgData name="Ettore Minelli" userId="7870a1ad-01cf-4239-8cce-750deae7f4ef" providerId="ADAL" clId="{0FDC7236-0C66-43F6-99AF-1100E6B9ED67}" dt="2022-10-25T12:15:53.200" v="711" actId="164"/>
          <ac:spMkLst>
            <pc:docMk/>
            <pc:sldMk cId="614647594" sldId="257"/>
            <ac:spMk id="6" creationId="{F2E66E18-7D5E-47E9-AA81-E784D208CED9}"/>
          </ac:spMkLst>
        </pc:spChg>
        <pc:spChg chg="del mod topLvl">
          <ac:chgData name="Ettore Minelli" userId="7870a1ad-01cf-4239-8cce-750deae7f4ef" providerId="ADAL" clId="{0FDC7236-0C66-43F6-99AF-1100E6B9ED67}" dt="2022-10-25T12:07:41.557" v="466" actId="478"/>
          <ac:spMkLst>
            <pc:docMk/>
            <pc:sldMk cId="614647594" sldId="257"/>
            <ac:spMk id="10" creationId="{B91AB4AA-64EF-4C71-8027-C72F3817D097}"/>
          </ac:spMkLst>
        </pc:spChg>
        <pc:spChg chg="del mod topLvl">
          <ac:chgData name="Ettore Minelli" userId="7870a1ad-01cf-4239-8cce-750deae7f4ef" providerId="ADAL" clId="{0FDC7236-0C66-43F6-99AF-1100E6B9ED67}" dt="2022-10-25T12:07:36.282" v="463" actId="478"/>
          <ac:spMkLst>
            <pc:docMk/>
            <pc:sldMk cId="614647594" sldId="257"/>
            <ac:spMk id="25" creationId="{031F2714-5053-4B72-A014-88EA8983AA18}"/>
          </ac:spMkLst>
        </pc:spChg>
        <pc:spChg chg="del mod topLvl">
          <ac:chgData name="Ettore Minelli" userId="7870a1ad-01cf-4239-8cce-750deae7f4ef" providerId="ADAL" clId="{0FDC7236-0C66-43F6-99AF-1100E6B9ED67}" dt="2022-10-25T12:07:36.282" v="463" actId="478"/>
          <ac:spMkLst>
            <pc:docMk/>
            <pc:sldMk cId="614647594" sldId="257"/>
            <ac:spMk id="26" creationId="{03FEE01C-22DE-402C-9125-E6CC0D24F889}"/>
          </ac:spMkLst>
        </pc:spChg>
        <pc:spChg chg="del mod topLvl">
          <ac:chgData name="Ettore Minelli" userId="7870a1ad-01cf-4239-8cce-750deae7f4ef" providerId="ADAL" clId="{0FDC7236-0C66-43F6-99AF-1100E6B9ED67}" dt="2022-10-25T12:07:36.282" v="463" actId="478"/>
          <ac:spMkLst>
            <pc:docMk/>
            <pc:sldMk cId="614647594" sldId="257"/>
            <ac:spMk id="33" creationId="{A14766AC-A89C-429D-85E4-C4EA285EFF7D}"/>
          </ac:spMkLst>
        </pc:spChg>
        <pc:spChg chg="del mod topLvl">
          <ac:chgData name="Ettore Minelli" userId="7870a1ad-01cf-4239-8cce-750deae7f4ef" providerId="ADAL" clId="{0FDC7236-0C66-43F6-99AF-1100E6B9ED67}" dt="2022-10-25T12:07:36.282" v="463" actId="478"/>
          <ac:spMkLst>
            <pc:docMk/>
            <pc:sldMk cId="614647594" sldId="257"/>
            <ac:spMk id="34" creationId="{7B6E4EF0-BD0F-4781-AC17-DB5495416556}"/>
          </ac:spMkLst>
        </pc:spChg>
        <pc:spChg chg="del mod topLvl">
          <ac:chgData name="Ettore Minelli" userId="7870a1ad-01cf-4239-8cce-750deae7f4ef" providerId="ADAL" clId="{0FDC7236-0C66-43F6-99AF-1100E6B9ED67}" dt="2022-10-25T12:07:36.282" v="463" actId="478"/>
          <ac:spMkLst>
            <pc:docMk/>
            <pc:sldMk cId="614647594" sldId="257"/>
            <ac:spMk id="35" creationId="{5FE9D871-F41C-4D36-A44E-189BB1D98276}"/>
          </ac:spMkLst>
        </pc:spChg>
        <pc:spChg chg="del mod topLvl">
          <ac:chgData name="Ettore Minelli" userId="7870a1ad-01cf-4239-8cce-750deae7f4ef" providerId="ADAL" clId="{0FDC7236-0C66-43F6-99AF-1100E6B9ED67}" dt="2022-10-25T12:07:36.282" v="463" actId="478"/>
          <ac:spMkLst>
            <pc:docMk/>
            <pc:sldMk cId="614647594" sldId="257"/>
            <ac:spMk id="36" creationId="{1A3A140C-317A-4879-A711-947C9D772C89}"/>
          </ac:spMkLst>
        </pc:spChg>
        <pc:spChg chg="del mod topLvl">
          <ac:chgData name="Ettore Minelli" userId="7870a1ad-01cf-4239-8cce-750deae7f4ef" providerId="ADAL" clId="{0FDC7236-0C66-43F6-99AF-1100E6B9ED67}" dt="2022-10-25T12:07:36.282" v="463" actId="478"/>
          <ac:spMkLst>
            <pc:docMk/>
            <pc:sldMk cId="614647594" sldId="257"/>
            <ac:spMk id="37" creationId="{2D3AFD23-ACA0-43A9-B4F4-C006FED81752}"/>
          </ac:spMkLst>
        </pc:spChg>
        <pc:spChg chg="del mod topLvl">
          <ac:chgData name="Ettore Minelli" userId="7870a1ad-01cf-4239-8cce-750deae7f4ef" providerId="ADAL" clId="{0FDC7236-0C66-43F6-99AF-1100E6B9ED67}" dt="2022-10-25T12:07:36.282" v="463" actId="478"/>
          <ac:spMkLst>
            <pc:docMk/>
            <pc:sldMk cId="614647594" sldId="257"/>
            <ac:spMk id="38" creationId="{D8DAD43F-B986-4101-BE0C-4CE7511C4960}"/>
          </ac:spMkLst>
        </pc:spChg>
        <pc:spChg chg="del mod topLvl">
          <ac:chgData name="Ettore Minelli" userId="7870a1ad-01cf-4239-8cce-750deae7f4ef" providerId="ADAL" clId="{0FDC7236-0C66-43F6-99AF-1100E6B9ED67}" dt="2022-10-25T12:07:36.282" v="463" actId="478"/>
          <ac:spMkLst>
            <pc:docMk/>
            <pc:sldMk cId="614647594" sldId="257"/>
            <ac:spMk id="39" creationId="{9898BA5F-867E-41B5-AF76-2AC3DBC74D99}"/>
          </ac:spMkLst>
        </pc:spChg>
        <pc:spChg chg="del mod topLvl">
          <ac:chgData name="Ettore Minelli" userId="7870a1ad-01cf-4239-8cce-750deae7f4ef" providerId="ADAL" clId="{0FDC7236-0C66-43F6-99AF-1100E6B9ED67}" dt="2022-10-25T12:07:36.282" v="463" actId="478"/>
          <ac:spMkLst>
            <pc:docMk/>
            <pc:sldMk cId="614647594" sldId="257"/>
            <ac:spMk id="40" creationId="{6680DD48-B00C-4837-A72D-F95E3E4D75BA}"/>
          </ac:spMkLst>
        </pc:spChg>
        <pc:spChg chg="add mod">
          <ac:chgData name="Ettore Minelli" userId="7870a1ad-01cf-4239-8cce-750deae7f4ef" providerId="ADAL" clId="{0FDC7236-0C66-43F6-99AF-1100E6B9ED67}" dt="2022-10-25T12:15:53.200" v="711" actId="164"/>
          <ac:spMkLst>
            <pc:docMk/>
            <pc:sldMk cId="614647594" sldId="257"/>
            <ac:spMk id="41" creationId="{2FDA55C1-B54D-48DF-9125-01B6400253C5}"/>
          </ac:spMkLst>
        </pc:spChg>
        <pc:spChg chg="add mod">
          <ac:chgData name="Ettore Minelli" userId="7870a1ad-01cf-4239-8cce-750deae7f4ef" providerId="ADAL" clId="{0FDC7236-0C66-43F6-99AF-1100E6B9ED67}" dt="2022-10-25T12:15:53.200" v="711" actId="164"/>
          <ac:spMkLst>
            <pc:docMk/>
            <pc:sldMk cId="614647594" sldId="257"/>
            <ac:spMk id="42" creationId="{BC554BBD-A76A-4151-A9D5-1ABEC01E4937}"/>
          </ac:spMkLst>
        </pc:spChg>
        <pc:spChg chg="add mod">
          <ac:chgData name="Ettore Minelli" userId="7870a1ad-01cf-4239-8cce-750deae7f4ef" providerId="ADAL" clId="{0FDC7236-0C66-43F6-99AF-1100E6B9ED67}" dt="2022-10-25T12:15:53.200" v="711" actId="164"/>
          <ac:spMkLst>
            <pc:docMk/>
            <pc:sldMk cId="614647594" sldId="257"/>
            <ac:spMk id="43" creationId="{EC03B430-25FD-47CD-A56A-2E50C4826AAD}"/>
          </ac:spMkLst>
        </pc:spChg>
        <pc:spChg chg="add mod">
          <ac:chgData name="Ettore Minelli" userId="7870a1ad-01cf-4239-8cce-750deae7f4ef" providerId="ADAL" clId="{0FDC7236-0C66-43F6-99AF-1100E6B9ED67}" dt="2022-10-25T12:15:53.200" v="711" actId="164"/>
          <ac:spMkLst>
            <pc:docMk/>
            <pc:sldMk cId="614647594" sldId="257"/>
            <ac:spMk id="44" creationId="{3B962EF6-DE10-4BA5-BDF4-A60F1FCF62A4}"/>
          </ac:spMkLst>
        </pc:spChg>
        <pc:spChg chg="add mod">
          <ac:chgData name="Ettore Minelli" userId="7870a1ad-01cf-4239-8cce-750deae7f4ef" providerId="ADAL" clId="{0FDC7236-0C66-43F6-99AF-1100E6B9ED67}" dt="2022-10-25T12:15:53.200" v="711" actId="164"/>
          <ac:spMkLst>
            <pc:docMk/>
            <pc:sldMk cId="614647594" sldId="257"/>
            <ac:spMk id="45" creationId="{9547861C-F6D2-4260-A7CA-3E68E7322452}"/>
          </ac:spMkLst>
        </pc:spChg>
        <pc:spChg chg="add mod">
          <ac:chgData name="Ettore Minelli" userId="7870a1ad-01cf-4239-8cce-750deae7f4ef" providerId="ADAL" clId="{0FDC7236-0C66-43F6-99AF-1100E6B9ED67}" dt="2022-10-25T12:15:53.200" v="711" actId="164"/>
          <ac:spMkLst>
            <pc:docMk/>
            <pc:sldMk cId="614647594" sldId="257"/>
            <ac:spMk id="46" creationId="{18802CF4-B727-4BCA-A209-8E8E34101690}"/>
          </ac:spMkLst>
        </pc:spChg>
        <pc:spChg chg="add mod">
          <ac:chgData name="Ettore Minelli" userId="7870a1ad-01cf-4239-8cce-750deae7f4ef" providerId="ADAL" clId="{0FDC7236-0C66-43F6-99AF-1100E6B9ED67}" dt="2022-10-25T12:15:53.200" v="711" actId="164"/>
          <ac:spMkLst>
            <pc:docMk/>
            <pc:sldMk cId="614647594" sldId="257"/>
            <ac:spMk id="47" creationId="{F38B62A5-9ED5-4CA6-A101-4EF716194E0E}"/>
          </ac:spMkLst>
        </pc:spChg>
        <pc:spChg chg="add mod">
          <ac:chgData name="Ettore Minelli" userId="7870a1ad-01cf-4239-8cce-750deae7f4ef" providerId="ADAL" clId="{0FDC7236-0C66-43F6-99AF-1100E6B9ED67}" dt="2022-10-25T12:15:53.200" v="711" actId="164"/>
          <ac:spMkLst>
            <pc:docMk/>
            <pc:sldMk cId="614647594" sldId="257"/>
            <ac:spMk id="48" creationId="{D9717F42-1DF8-4BD5-93AE-486BAB89F67E}"/>
          </ac:spMkLst>
        </pc:spChg>
        <pc:spChg chg="add mod">
          <ac:chgData name="Ettore Minelli" userId="7870a1ad-01cf-4239-8cce-750deae7f4ef" providerId="ADAL" clId="{0FDC7236-0C66-43F6-99AF-1100E6B9ED67}" dt="2022-10-25T12:15:53.200" v="711" actId="164"/>
          <ac:spMkLst>
            <pc:docMk/>
            <pc:sldMk cId="614647594" sldId="257"/>
            <ac:spMk id="49" creationId="{81D4ADFC-FD4A-403E-AE14-53BD4C92E56F}"/>
          </ac:spMkLst>
        </pc:spChg>
        <pc:spChg chg="add mod">
          <ac:chgData name="Ettore Minelli" userId="7870a1ad-01cf-4239-8cce-750deae7f4ef" providerId="ADAL" clId="{0FDC7236-0C66-43F6-99AF-1100E6B9ED67}" dt="2022-10-25T12:15:53.200" v="711" actId="164"/>
          <ac:spMkLst>
            <pc:docMk/>
            <pc:sldMk cId="614647594" sldId="257"/>
            <ac:spMk id="50" creationId="{FC20D2BA-1F0D-4C90-85D2-3CE912137AB4}"/>
          </ac:spMkLst>
        </pc:spChg>
        <pc:spChg chg="mod">
          <ac:chgData name="Ettore Minelli" userId="7870a1ad-01cf-4239-8cce-750deae7f4ef" providerId="ADAL" clId="{0FDC7236-0C66-43F6-99AF-1100E6B9ED67}" dt="2022-10-25T12:15:56.001" v="712"/>
          <ac:spMkLst>
            <pc:docMk/>
            <pc:sldMk cId="614647594" sldId="257"/>
            <ac:spMk id="82" creationId="{48551273-3B26-4F9C-9215-DBB127480658}"/>
          </ac:spMkLst>
        </pc:spChg>
        <pc:spChg chg="mod">
          <ac:chgData name="Ettore Minelli" userId="7870a1ad-01cf-4239-8cce-750deae7f4ef" providerId="ADAL" clId="{0FDC7236-0C66-43F6-99AF-1100E6B9ED67}" dt="2022-10-25T12:15:56.001" v="712"/>
          <ac:spMkLst>
            <pc:docMk/>
            <pc:sldMk cId="614647594" sldId="257"/>
            <ac:spMk id="84" creationId="{06CE8303-367A-4C20-A269-3CA641F8CAD6}"/>
          </ac:spMkLst>
        </pc:spChg>
        <pc:spChg chg="mod">
          <ac:chgData name="Ettore Minelli" userId="7870a1ad-01cf-4239-8cce-750deae7f4ef" providerId="ADAL" clId="{0FDC7236-0C66-43F6-99AF-1100E6B9ED67}" dt="2022-10-25T12:15:56.001" v="712"/>
          <ac:spMkLst>
            <pc:docMk/>
            <pc:sldMk cId="614647594" sldId="257"/>
            <ac:spMk id="87" creationId="{EA306045-F181-4762-A684-EE331E9F1524}"/>
          </ac:spMkLst>
        </pc:spChg>
        <pc:spChg chg="mod">
          <ac:chgData name="Ettore Minelli" userId="7870a1ad-01cf-4239-8cce-750deae7f4ef" providerId="ADAL" clId="{0FDC7236-0C66-43F6-99AF-1100E6B9ED67}" dt="2022-10-25T12:15:56.001" v="712"/>
          <ac:spMkLst>
            <pc:docMk/>
            <pc:sldMk cId="614647594" sldId="257"/>
            <ac:spMk id="90" creationId="{326CF72E-5865-49EA-89DB-26B6AEB4F714}"/>
          </ac:spMkLst>
        </pc:spChg>
        <pc:spChg chg="mod">
          <ac:chgData name="Ettore Minelli" userId="7870a1ad-01cf-4239-8cce-750deae7f4ef" providerId="ADAL" clId="{0FDC7236-0C66-43F6-99AF-1100E6B9ED67}" dt="2022-10-25T12:15:56.001" v="712"/>
          <ac:spMkLst>
            <pc:docMk/>
            <pc:sldMk cId="614647594" sldId="257"/>
            <ac:spMk id="91" creationId="{36F1F834-1DFF-461B-8AC5-2D51DD18D3A9}"/>
          </ac:spMkLst>
        </pc:spChg>
        <pc:spChg chg="mod">
          <ac:chgData name="Ettore Minelli" userId="7870a1ad-01cf-4239-8cce-750deae7f4ef" providerId="ADAL" clId="{0FDC7236-0C66-43F6-99AF-1100E6B9ED67}" dt="2022-10-25T12:15:56.001" v="712"/>
          <ac:spMkLst>
            <pc:docMk/>
            <pc:sldMk cId="614647594" sldId="257"/>
            <ac:spMk id="92" creationId="{60D79467-1118-41D7-A82B-2031525A4DFE}"/>
          </ac:spMkLst>
        </pc:spChg>
        <pc:spChg chg="mod">
          <ac:chgData name="Ettore Minelli" userId="7870a1ad-01cf-4239-8cce-750deae7f4ef" providerId="ADAL" clId="{0FDC7236-0C66-43F6-99AF-1100E6B9ED67}" dt="2022-10-25T12:15:56.001" v="712"/>
          <ac:spMkLst>
            <pc:docMk/>
            <pc:sldMk cId="614647594" sldId="257"/>
            <ac:spMk id="93" creationId="{AD3F6003-5E65-41B9-B026-71224B30B6C0}"/>
          </ac:spMkLst>
        </pc:spChg>
        <pc:spChg chg="mod">
          <ac:chgData name="Ettore Minelli" userId="7870a1ad-01cf-4239-8cce-750deae7f4ef" providerId="ADAL" clId="{0FDC7236-0C66-43F6-99AF-1100E6B9ED67}" dt="2022-10-25T12:15:56.001" v="712"/>
          <ac:spMkLst>
            <pc:docMk/>
            <pc:sldMk cId="614647594" sldId="257"/>
            <ac:spMk id="94" creationId="{2A003AAA-FFD3-4BB8-A815-05E6A35EA44E}"/>
          </ac:spMkLst>
        </pc:spChg>
        <pc:spChg chg="mod">
          <ac:chgData name="Ettore Minelli" userId="7870a1ad-01cf-4239-8cce-750deae7f4ef" providerId="ADAL" clId="{0FDC7236-0C66-43F6-99AF-1100E6B9ED67}" dt="2022-10-25T12:15:56.001" v="712"/>
          <ac:spMkLst>
            <pc:docMk/>
            <pc:sldMk cId="614647594" sldId="257"/>
            <ac:spMk id="95" creationId="{297AC9EE-EBD1-430B-B798-A76530CCE76C}"/>
          </ac:spMkLst>
        </pc:spChg>
        <pc:spChg chg="mod">
          <ac:chgData name="Ettore Minelli" userId="7870a1ad-01cf-4239-8cce-750deae7f4ef" providerId="ADAL" clId="{0FDC7236-0C66-43F6-99AF-1100E6B9ED67}" dt="2022-10-25T12:15:56.001" v="712"/>
          <ac:spMkLst>
            <pc:docMk/>
            <pc:sldMk cId="614647594" sldId="257"/>
            <ac:spMk id="96" creationId="{DCCF8B47-E0B8-4AC5-83D4-445208758D16}"/>
          </ac:spMkLst>
        </pc:spChg>
        <pc:spChg chg="mod">
          <ac:chgData name="Ettore Minelli" userId="7870a1ad-01cf-4239-8cce-750deae7f4ef" providerId="ADAL" clId="{0FDC7236-0C66-43F6-99AF-1100E6B9ED67}" dt="2022-10-25T12:15:56.001" v="712"/>
          <ac:spMkLst>
            <pc:docMk/>
            <pc:sldMk cId="614647594" sldId="257"/>
            <ac:spMk id="97" creationId="{32DDF394-57CB-4E2F-81C3-B51ACE24C416}"/>
          </ac:spMkLst>
        </pc:spChg>
        <pc:spChg chg="mod">
          <ac:chgData name="Ettore Minelli" userId="7870a1ad-01cf-4239-8cce-750deae7f4ef" providerId="ADAL" clId="{0FDC7236-0C66-43F6-99AF-1100E6B9ED67}" dt="2022-10-25T12:15:56.001" v="712"/>
          <ac:spMkLst>
            <pc:docMk/>
            <pc:sldMk cId="614647594" sldId="257"/>
            <ac:spMk id="98" creationId="{A6CF09D5-678A-413B-B371-C6050DC37E63}"/>
          </ac:spMkLst>
        </pc:spChg>
        <pc:spChg chg="mod">
          <ac:chgData name="Ettore Minelli" userId="7870a1ad-01cf-4239-8cce-750deae7f4ef" providerId="ADAL" clId="{0FDC7236-0C66-43F6-99AF-1100E6B9ED67}" dt="2022-10-25T12:15:56.001" v="712"/>
          <ac:spMkLst>
            <pc:docMk/>
            <pc:sldMk cId="614647594" sldId="257"/>
            <ac:spMk id="99" creationId="{8ADEB6BF-22E5-4901-8865-C8FA3B840890}"/>
          </ac:spMkLst>
        </pc:spChg>
        <pc:grpChg chg="add mod">
          <ac:chgData name="Ettore Minelli" userId="7870a1ad-01cf-4239-8cce-750deae7f4ef" providerId="ADAL" clId="{0FDC7236-0C66-43F6-99AF-1100E6B9ED67}" dt="2022-10-25T12:15:53.200" v="711" actId="164"/>
          <ac:grpSpMkLst>
            <pc:docMk/>
            <pc:sldMk cId="614647594" sldId="257"/>
            <ac:grpSpMk id="67" creationId="{C1253F94-4F23-4555-8E6D-731278DF08B8}"/>
          </ac:grpSpMkLst>
        </pc:grpChg>
        <pc:grpChg chg="add del mod">
          <ac:chgData name="Ettore Minelli" userId="7870a1ad-01cf-4239-8cce-750deae7f4ef" providerId="ADAL" clId="{0FDC7236-0C66-43F6-99AF-1100E6B9ED67}" dt="2022-10-25T12:15:57.336" v="713"/>
          <ac:grpSpMkLst>
            <pc:docMk/>
            <pc:sldMk cId="614647594" sldId="257"/>
            <ac:grpSpMk id="80" creationId="{C3BD384D-429B-4CD9-9F36-039D501F26F4}"/>
          </ac:grpSpMkLst>
        </pc:grpChg>
        <pc:grpChg chg="del">
          <ac:chgData name="Ettore Minelli" userId="7870a1ad-01cf-4239-8cce-750deae7f4ef" providerId="ADAL" clId="{0FDC7236-0C66-43F6-99AF-1100E6B9ED67}" dt="2022-10-25T12:07:24.197" v="461" actId="165"/>
          <ac:grpSpMkLst>
            <pc:docMk/>
            <pc:sldMk cId="614647594" sldId="257"/>
            <ac:grpSpMk id="86" creationId="{51427CA7-CD3B-4D15-BD25-DD72B524C81A}"/>
          </ac:grpSpMkLst>
        </pc:grpChg>
        <pc:cxnChg chg="add mod">
          <ac:chgData name="Ettore Minelli" userId="7870a1ad-01cf-4239-8cce-750deae7f4ef" providerId="ADAL" clId="{0FDC7236-0C66-43F6-99AF-1100E6B9ED67}" dt="2022-10-25T12:15:53.200" v="711" actId="164"/>
          <ac:cxnSpMkLst>
            <pc:docMk/>
            <pc:sldMk cId="614647594" sldId="257"/>
            <ac:cxnSpMk id="7" creationId="{A8AF8911-D82E-430D-84AD-36F01EF8DA38}"/>
          </ac:cxnSpMkLst>
        </pc:cxnChg>
        <pc:cxnChg chg="add mod">
          <ac:chgData name="Ettore Minelli" userId="7870a1ad-01cf-4239-8cce-750deae7f4ef" providerId="ADAL" clId="{0FDC7236-0C66-43F6-99AF-1100E6B9ED67}" dt="2022-10-25T12:15:53.200" v="711" actId="164"/>
          <ac:cxnSpMkLst>
            <pc:docMk/>
            <pc:sldMk cId="614647594" sldId="257"/>
            <ac:cxnSpMk id="9" creationId="{E5E1548F-A26C-4037-B211-2307B110CEF0}"/>
          </ac:cxnSpMkLst>
        </pc:cxnChg>
        <pc:cxnChg chg="add del mod">
          <ac:chgData name="Ettore Minelli" userId="7870a1ad-01cf-4239-8cce-750deae7f4ef" providerId="ADAL" clId="{0FDC7236-0C66-43F6-99AF-1100E6B9ED67}" dt="2022-10-25T12:12:34.158" v="677" actId="478"/>
          <ac:cxnSpMkLst>
            <pc:docMk/>
            <pc:sldMk cId="614647594" sldId="257"/>
            <ac:cxnSpMk id="12" creationId="{22A0A2AB-0E00-4CBA-BEF3-45886B134168}"/>
          </ac:cxnSpMkLst>
        </pc:cxnChg>
        <pc:cxnChg chg="add mod">
          <ac:chgData name="Ettore Minelli" userId="7870a1ad-01cf-4239-8cce-750deae7f4ef" providerId="ADAL" clId="{0FDC7236-0C66-43F6-99AF-1100E6B9ED67}" dt="2022-10-25T12:15:53.200" v="711" actId="164"/>
          <ac:cxnSpMkLst>
            <pc:docMk/>
            <pc:sldMk cId="614647594" sldId="257"/>
            <ac:cxnSpMk id="14" creationId="{9600C6ED-9A11-4929-8AA6-136F30E52F88}"/>
          </ac:cxnSpMkLst>
        </pc:cxnChg>
        <pc:cxnChg chg="add mod">
          <ac:chgData name="Ettore Minelli" userId="7870a1ad-01cf-4239-8cce-750deae7f4ef" providerId="ADAL" clId="{0FDC7236-0C66-43F6-99AF-1100E6B9ED67}" dt="2022-10-25T12:15:53.200" v="711" actId="164"/>
          <ac:cxnSpMkLst>
            <pc:docMk/>
            <pc:sldMk cId="614647594" sldId="257"/>
            <ac:cxnSpMk id="17" creationId="{0994D420-B43E-4D9F-A9D6-D5ABEC9916AA}"/>
          </ac:cxnSpMkLst>
        </pc:cxnChg>
        <pc:cxnChg chg="mod topLvl">
          <ac:chgData name="Ettore Minelli" userId="7870a1ad-01cf-4239-8cce-750deae7f4ef" providerId="ADAL" clId="{0FDC7236-0C66-43F6-99AF-1100E6B9ED67}" dt="2022-10-25T12:15:53.200" v="711" actId="164"/>
          <ac:cxnSpMkLst>
            <pc:docMk/>
            <pc:sldMk cId="614647594" sldId="257"/>
            <ac:cxnSpMk id="18" creationId="{34F5B009-7E21-443C-A0FE-A9366089287D}"/>
          </ac:cxnSpMkLst>
        </pc:cxnChg>
        <pc:cxnChg chg="mod topLvl">
          <ac:chgData name="Ettore Minelli" userId="7870a1ad-01cf-4239-8cce-750deae7f4ef" providerId="ADAL" clId="{0FDC7236-0C66-43F6-99AF-1100E6B9ED67}" dt="2022-10-25T12:15:53.200" v="711" actId="164"/>
          <ac:cxnSpMkLst>
            <pc:docMk/>
            <pc:sldMk cId="614647594" sldId="257"/>
            <ac:cxnSpMk id="19" creationId="{4E2B6926-031F-4473-8671-146CC106407A}"/>
          </ac:cxnSpMkLst>
        </pc:cxnChg>
        <pc:cxnChg chg="del mod topLvl">
          <ac:chgData name="Ettore Minelli" userId="7870a1ad-01cf-4239-8cce-750deae7f4ef" providerId="ADAL" clId="{0FDC7236-0C66-43F6-99AF-1100E6B9ED67}" dt="2022-10-25T12:07:42.282" v="467" actId="478"/>
          <ac:cxnSpMkLst>
            <pc:docMk/>
            <pc:sldMk cId="614647594" sldId="257"/>
            <ac:cxnSpMk id="22" creationId="{A583C8A2-F4AC-49F3-B72F-50E1ED026B71}"/>
          </ac:cxnSpMkLst>
        </pc:cxnChg>
        <pc:cxnChg chg="add mod">
          <ac:chgData name="Ettore Minelli" userId="7870a1ad-01cf-4239-8cce-750deae7f4ef" providerId="ADAL" clId="{0FDC7236-0C66-43F6-99AF-1100E6B9ED67}" dt="2022-10-25T12:15:53.200" v="711" actId="164"/>
          <ac:cxnSpMkLst>
            <pc:docMk/>
            <pc:sldMk cId="614647594" sldId="257"/>
            <ac:cxnSpMk id="23" creationId="{8C611647-28F9-4E9C-B693-68BA6CD42A86}"/>
          </ac:cxnSpMkLst>
        </pc:cxnChg>
        <pc:cxnChg chg="del mod topLvl">
          <ac:chgData name="Ettore Minelli" userId="7870a1ad-01cf-4239-8cce-750deae7f4ef" providerId="ADAL" clId="{0FDC7236-0C66-43F6-99AF-1100E6B9ED67}" dt="2022-10-25T12:07:36.282" v="463" actId="478"/>
          <ac:cxnSpMkLst>
            <pc:docMk/>
            <pc:sldMk cId="614647594" sldId="257"/>
            <ac:cxnSpMk id="27" creationId="{0CF1763F-D447-4507-8908-2E27B90147C0}"/>
          </ac:cxnSpMkLst>
        </pc:cxnChg>
        <pc:cxnChg chg="add mod">
          <ac:chgData name="Ettore Minelli" userId="7870a1ad-01cf-4239-8cce-750deae7f4ef" providerId="ADAL" clId="{0FDC7236-0C66-43F6-99AF-1100E6B9ED67}" dt="2022-10-25T12:15:53.200" v="711" actId="164"/>
          <ac:cxnSpMkLst>
            <pc:docMk/>
            <pc:sldMk cId="614647594" sldId="257"/>
            <ac:cxnSpMk id="29" creationId="{AB120371-A94B-4633-9CDA-2FFF6F390DEE}"/>
          </ac:cxnSpMkLst>
        </pc:cxnChg>
        <pc:cxnChg chg="del mod topLvl">
          <ac:chgData name="Ettore Minelli" userId="7870a1ad-01cf-4239-8cce-750deae7f4ef" providerId="ADAL" clId="{0FDC7236-0C66-43F6-99AF-1100E6B9ED67}" dt="2022-10-25T12:07:36.282" v="463" actId="478"/>
          <ac:cxnSpMkLst>
            <pc:docMk/>
            <pc:sldMk cId="614647594" sldId="257"/>
            <ac:cxnSpMk id="30" creationId="{6D3A8021-C853-445E-A954-4AC59EE38D29}"/>
          </ac:cxnSpMkLst>
        </pc:cxnChg>
        <pc:cxnChg chg="add mod">
          <ac:chgData name="Ettore Minelli" userId="7870a1ad-01cf-4239-8cce-750deae7f4ef" providerId="ADAL" clId="{0FDC7236-0C66-43F6-99AF-1100E6B9ED67}" dt="2022-10-25T12:15:53.200" v="711" actId="164"/>
          <ac:cxnSpMkLst>
            <pc:docMk/>
            <pc:sldMk cId="614647594" sldId="257"/>
            <ac:cxnSpMk id="32" creationId="{826B8DF0-47C9-47ED-B9B3-DB50ACD4D808}"/>
          </ac:cxnSpMkLst>
        </pc:cxnChg>
        <pc:cxnChg chg="add mod">
          <ac:chgData name="Ettore Minelli" userId="7870a1ad-01cf-4239-8cce-750deae7f4ef" providerId="ADAL" clId="{0FDC7236-0C66-43F6-99AF-1100E6B9ED67}" dt="2022-10-25T12:15:53.200" v="711" actId="164"/>
          <ac:cxnSpMkLst>
            <pc:docMk/>
            <pc:sldMk cId="614647594" sldId="257"/>
            <ac:cxnSpMk id="52" creationId="{038B74E7-6979-49E5-B855-B682CC63FE29}"/>
          </ac:cxnSpMkLst>
        </pc:cxnChg>
        <pc:cxnChg chg="add mod">
          <ac:chgData name="Ettore Minelli" userId="7870a1ad-01cf-4239-8cce-750deae7f4ef" providerId="ADAL" clId="{0FDC7236-0C66-43F6-99AF-1100E6B9ED67}" dt="2022-10-25T12:15:53.200" v="711" actId="164"/>
          <ac:cxnSpMkLst>
            <pc:docMk/>
            <pc:sldMk cId="614647594" sldId="257"/>
            <ac:cxnSpMk id="55" creationId="{3AFDEDD9-0856-44ED-B36F-036322CD56BF}"/>
          </ac:cxnSpMkLst>
        </pc:cxnChg>
        <pc:cxnChg chg="del mod topLvl">
          <ac:chgData name="Ettore Minelli" userId="7870a1ad-01cf-4239-8cce-750deae7f4ef" providerId="ADAL" clId="{0FDC7236-0C66-43F6-99AF-1100E6B9ED67}" dt="2022-10-25T12:07:36.282" v="463" actId="478"/>
          <ac:cxnSpMkLst>
            <pc:docMk/>
            <pc:sldMk cId="614647594" sldId="257"/>
            <ac:cxnSpMk id="57" creationId="{2EDFE4D0-4ECE-4CEE-99F7-C1519C088D3C}"/>
          </ac:cxnSpMkLst>
        </pc:cxnChg>
        <pc:cxnChg chg="add del mod">
          <ac:chgData name="Ettore Minelli" userId="7870a1ad-01cf-4239-8cce-750deae7f4ef" providerId="ADAL" clId="{0FDC7236-0C66-43F6-99AF-1100E6B9ED67}" dt="2022-10-25T12:15:11.027" v="703" actId="478"/>
          <ac:cxnSpMkLst>
            <pc:docMk/>
            <pc:sldMk cId="614647594" sldId="257"/>
            <ac:cxnSpMk id="58" creationId="{C1001202-127D-4C96-A5D5-1D2D09E9C15B}"/>
          </ac:cxnSpMkLst>
        </pc:cxnChg>
        <pc:cxnChg chg="add mod">
          <ac:chgData name="Ettore Minelli" userId="7870a1ad-01cf-4239-8cce-750deae7f4ef" providerId="ADAL" clId="{0FDC7236-0C66-43F6-99AF-1100E6B9ED67}" dt="2022-10-25T12:15:53.200" v="711" actId="164"/>
          <ac:cxnSpMkLst>
            <pc:docMk/>
            <pc:sldMk cId="614647594" sldId="257"/>
            <ac:cxnSpMk id="60" creationId="{B7490FD0-F36C-4246-BD75-2D745D078B7D}"/>
          </ac:cxnSpMkLst>
        </pc:cxnChg>
        <pc:cxnChg chg="add mod">
          <ac:chgData name="Ettore Minelli" userId="7870a1ad-01cf-4239-8cce-750deae7f4ef" providerId="ADAL" clId="{0FDC7236-0C66-43F6-99AF-1100E6B9ED67}" dt="2022-10-25T12:15:53.200" v="711" actId="164"/>
          <ac:cxnSpMkLst>
            <pc:docMk/>
            <pc:sldMk cId="614647594" sldId="257"/>
            <ac:cxnSpMk id="62" creationId="{452B3632-7388-40D3-BFB2-25FB7C30DCEF}"/>
          </ac:cxnSpMkLst>
        </pc:cxnChg>
        <pc:cxnChg chg="add mod">
          <ac:chgData name="Ettore Minelli" userId="7870a1ad-01cf-4239-8cce-750deae7f4ef" providerId="ADAL" clId="{0FDC7236-0C66-43F6-99AF-1100E6B9ED67}" dt="2022-10-25T12:15:53.200" v="711" actId="164"/>
          <ac:cxnSpMkLst>
            <pc:docMk/>
            <pc:sldMk cId="614647594" sldId="257"/>
            <ac:cxnSpMk id="63" creationId="{6C27F941-AD65-4B0E-BAE0-454C547B2AF1}"/>
          </ac:cxnSpMkLst>
        </pc:cxnChg>
        <pc:cxnChg chg="add mod">
          <ac:chgData name="Ettore Minelli" userId="7870a1ad-01cf-4239-8cce-750deae7f4ef" providerId="ADAL" clId="{0FDC7236-0C66-43F6-99AF-1100E6B9ED67}" dt="2022-10-25T12:15:53.200" v="711" actId="164"/>
          <ac:cxnSpMkLst>
            <pc:docMk/>
            <pc:sldMk cId="614647594" sldId="257"/>
            <ac:cxnSpMk id="64" creationId="{83E5C778-6C01-4CA7-B987-9918A30FABDA}"/>
          </ac:cxnSpMkLst>
        </pc:cxnChg>
        <pc:cxnChg chg="add mod">
          <ac:chgData name="Ettore Minelli" userId="7870a1ad-01cf-4239-8cce-750deae7f4ef" providerId="ADAL" clId="{0FDC7236-0C66-43F6-99AF-1100E6B9ED67}" dt="2022-10-25T12:15:53.200" v="711" actId="164"/>
          <ac:cxnSpMkLst>
            <pc:docMk/>
            <pc:sldMk cId="614647594" sldId="257"/>
            <ac:cxnSpMk id="65" creationId="{31E7BD09-DC02-490F-AE0B-8F47BE22E834}"/>
          </ac:cxnSpMkLst>
        </pc:cxnChg>
        <pc:cxnChg chg="del mod topLvl">
          <ac:chgData name="Ettore Minelli" userId="7870a1ad-01cf-4239-8cce-750deae7f4ef" providerId="ADAL" clId="{0FDC7236-0C66-43F6-99AF-1100E6B9ED67}" dt="2022-10-25T12:07:36.282" v="463" actId="478"/>
          <ac:cxnSpMkLst>
            <pc:docMk/>
            <pc:sldMk cId="614647594" sldId="257"/>
            <ac:cxnSpMk id="66" creationId="{83DBAD8D-C743-47CC-A644-A38B3826476B}"/>
          </ac:cxnSpMkLst>
        </pc:cxnChg>
        <pc:cxnChg chg="del mod topLvl">
          <ac:chgData name="Ettore Minelli" userId="7870a1ad-01cf-4239-8cce-750deae7f4ef" providerId="ADAL" clId="{0FDC7236-0C66-43F6-99AF-1100E6B9ED67}" dt="2022-10-25T12:07:36.282" v="463" actId="478"/>
          <ac:cxnSpMkLst>
            <pc:docMk/>
            <pc:sldMk cId="614647594" sldId="257"/>
            <ac:cxnSpMk id="68" creationId="{7E530E6C-F58C-45DE-BF9A-30C40B255F0A}"/>
          </ac:cxnSpMkLst>
        </pc:cxnChg>
        <pc:cxnChg chg="del mod topLvl">
          <ac:chgData name="Ettore Minelli" userId="7870a1ad-01cf-4239-8cce-750deae7f4ef" providerId="ADAL" clId="{0FDC7236-0C66-43F6-99AF-1100E6B9ED67}" dt="2022-10-25T12:07:36.282" v="463" actId="478"/>
          <ac:cxnSpMkLst>
            <pc:docMk/>
            <pc:sldMk cId="614647594" sldId="257"/>
            <ac:cxnSpMk id="70" creationId="{BBA2B489-9966-4DB3-B5B4-5B557B6C8076}"/>
          </ac:cxnSpMkLst>
        </pc:cxnChg>
        <pc:cxnChg chg="del mod topLvl">
          <ac:chgData name="Ettore Minelli" userId="7870a1ad-01cf-4239-8cce-750deae7f4ef" providerId="ADAL" clId="{0FDC7236-0C66-43F6-99AF-1100E6B9ED67}" dt="2022-10-25T12:07:36.282" v="463" actId="478"/>
          <ac:cxnSpMkLst>
            <pc:docMk/>
            <pc:sldMk cId="614647594" sldId="257"/>
            <ac:cxnSpMk id="72" creationId="{6A32EB6D-02D1-42FC-B10F-93A14EEFAF5A}"/>
          </ac:cxnSpMkLst>
        </pc:cxnChg>
        <pc:cxnChg chg="del mod topLvl">
          <ac:chgData name="Ettore Minelli" userId="7870a1ad-01cf-4239-8cce-750deae7f4ef" providerId="ADAL" clId="{0FDC7236-0C66-43F6-99AF-1100E6B9ED67}" dt="2022-10-25T12:07:36.282" v="463" actId="478"/>
          <ac:cxnSpMkLst>
            <pc:docMk/>
            <pc:sldMk cId="614647594" sldId="257"/>
            <ac:cxnSpMk id="74" creationId="{E0AC21F6-173B-47A2-BEEE-C06E0C1208F2}"/>
          </ac:cxnSpMkLst>
        </pc:cxnChg>
        <pc:cxnChg chg="del mod topLvl">
          <ac:chgData name="Ettore Minelli" userId="7870a1ad-01cf-4239-8cce-750deae7f4ef" providerId="ADAL" clId="{0FDC7236-0C66-43F6-99AF-1100E6B9ED67}" dt="2022-10-25T12:07:36.282" v="463" actId="478"/>
          <ac:cxnSpMkLst>
            <pc:docMk/>
            <pc:sldMk cId="614647594" sldId="257"/>
            <ac:cxnSpMk id="76" creationId="{B2F10781-5C57-4A86-AE94-E0DB2D308675}"/>
          </ac:cxnSpMkLst>
        </pc:cxnChg>
        <pc:cxnChg chg="del mod topLvl">
          <ac:chgData name="Ettore Minelli" userId="7870a1ad-01cf-4239-8cce-750deae7f4ef" providerId="ADAL" clId="{0FDC7236-0C66-43F6-99AF-1100E6B9ED67}" dt="2022-10-25T12:07:36.282" v="463" actId="478"/>
          <ac:cxnSpMkLst>
            <pc:docMk/>
            <pc:sldMk cId="614647594" sldId="257"/>
            <ac:cxnSpMk id="78" creationId="{DBACE92A-ED63-4BB1-A774-7FD62BCA0D22}"/>
          </ac:cxnSpMkLst>
        </pc:cxnChg>
        <pc:cxnChg chg="del mod topLvl">
          <ac:chgData name="Ettore Minelli" userId="7870a1ad-01cf-4239-8cce-750deae7f4ef" providerId="ADAL" clId="{0FDC7236-0C66-43F6-99AF-1100E6B9ED67}" dt="2022-10-25T12:07:37.594" v="464" actId="478"/>
          <ac:cxnSpMkLst>
            <pc:docMk/>
            <pc:sldMk cId="614647594" sldId="257"/>
            <ac:cxnSpMk id="79" creationId="{8D404D31-798D-4AEB-9246-EA38ADF4BA9C}"/>
          </ac:cxnSpMkLst>
        </pc:cxnChg>
        <pc:cxnChg chg="del mod topLvl">
          <ac:chgData name="Ettore Minelli" userId="7870a1ad-01cf-4239-8cce-750deae7f4ef" providerId="ADAL" clId="{0FDC7236-0C66-43F6-99AF-1100E6B9ED67}" dt="2022-10-25T12:07:37.594" v="464" actId="478"/>
          <ac:cxnSpMkLst>
            <pc:docMk/>
            <pc:sldMk cId="614647594" sldId="257"/>
            <ac:cxnSpMk id="81" creationId="{ACD01FA1-D62A-4D16-B190-8962F0B98F04}"/>
          </ac:cxnSpMkLst>
        </pc:cxnChg>
        <pc:cxnChg chg="del mod topLvl">
          <ac:chgData name="Ettore Minelli" userId="7870a1ad-01cf-4239-8cce-750deae7f4ef" providerId="ADAL" clId="{0FDC7236-0C66-43F6-99AF-1100E6B9ED67}" dt="2022-10-25T12:07:37.594" v="464" actId="478"/>
          <ac:cxnSpMkLst>
            <pc:docMk/>
            <pc:sldMk cId="614647594" sldId="257"/>
            <ac:cxnSpMk id="83" creationId="{606418B7-7FF3-4793-B119-C87D354E439F}"/>
          </ac:cxnSpMkLst>
        </pc:cxnChg>
        <pc:cxnChg chg="del mod topLvl">
          <ac:chgData name="Ettore Minelli" userId="7870a1ad-01cf-4239-8cce-750deae7f4ef" providerId="ADAL" clId="{0FDC7236-0C66-43F6-99AF-1100E6B9ED67}" dt="2022-10-25T12:07:37.594" v="464" actId="478"/>
          <ac:cxnSpMkLst>
            <pc:docMk/>
            <pc:sldMk cId="614647594" sldId="257"/>
            <ac:cxnSpMk id="85" creationId="{36BBFD6F-2BED-4A69-BCF0-B00B36656008}"/>
          </ac:cxnSpMkLst>
        </pc:cxnChg>
        <pc:cxnChg chg="mod">
          <ac:chgData name="Ettore Minelli" userId="7870a1ad-01cf-4239-8cce-750deae7f4ef" providerId="ADAL" clId="{0FDC7236-0C66-43F6-99AF-1100E6B9ED67}" dt="2022-10-25T12:15:56.001" v="712"/>
          <ac:cxnSpMkLst>
            <pc:docMk/>
            <pc:sldMk cId="614647594" sldId="257"/>
            <ac:cxnSpMk id="88" creationId="{081F96B2-43AD-4826-AD94-D69EFDE3A51C}"/>
          </ac:cxnSpMkLst>
        </pc:cxnChg>
        <pc:cxnChg chg="mod">
          <ac:chgData name="Ettore Minelli" userId="7870a1ad-01cf-4239-8cce-750deae7f4ef" providerId="ADAL" clId="{0FDC7236-0C66-43F6-99AF-1100E6B9ED67}" dt="2022-10-25T12:15:56.001" v="712"/>
          <ac:cxnSpMkLst>
            <pc:docMk/>
            <pc:sldMk cId="614647594" sldId="257"/>
            <ac:cxnSpMk id="89" creationId="{F68C2E5D-C9E1-4465-A1B7-0ADF2A685483}"/>
          </ac:cxnSpMkLst>
        </pc:cxnChg>
        <pc:cxnChg chg="mod">
          <ac:chgData name="Ettore Minelli" userId="7870a1ad-01cf-4239-8cce-750deae7f4ef" providerId="ADAL" clId="{0FDC7236-0C66-43F6-99AF-1100E6B9ED67}" dt="2022-10-25T12:15:56.001" v="712"/>
          <ac:cxnSpMkLst>
            <pc:docMk/>
            <pc:sldMk cId="614647594" sldId="257"/>
            <ac:cxnSpMk id="100" creationId="{6DF904F9-8DE2-422F-9207-055C0509BC42}"/>
          </ac:cxnSpMkLst>
        </pc:cxnChg>
        <pc:cxnChg chg="mod">
          <ac:chgData name="Ettore Minelli" userId="7870a1ad-01cf-4239-8cce-750deae7f4ef" providerId="ADAL" clId="{0FDC7236-0C66-43F6-99AF-1100E6B9ED67}" dt="2022-10-25T12:15:56.001" v="712"/>
          <ac:cxnSpMkLst>
            <pc:docMk/>
            <pc:sldMk cId="614647594" sldId="257"/>
            <ac:cxnSpMk id="101" creationId="{902B7BE3-3FFD-4D63-9E0A-19D24335055A}"/>
          </ac:cxnSpMkLst>
        </pc:cxnChg>
        <pc:cxnChg chg="mod">
          <ac:chgData name="Ettore Minelli" userId="7870a1ad-01cf-4239-8cce-750deae7f4ef" providerId="ADAL" clId="{0FDC7236-0C66-43F6-99AF-1100E6B9ED67}" dt="2022-10-25T12:15:56.001" v="712"/>
          <ac:cxnSpMkLst>
            <pc:docMk/>
            <pc:sldMk cId="614647594" sldId="257"/>
            <ac:cxnSpMk id="102" creationId="{6165C504-34D4-4F98-94EF-16AB89E43C8C}"/>
          </ac:cxnSpMkLst>
        </pc:cxnChg>
        <pc:cxnChg chg="mod">
          <ac:chgData name="Ettore Minelli" userId="7870a1ad-01cf-4239-8cce-750deae7f4ef" providerId="ADAL" clId="{0FDC7236-0C66-43F6-99AF-1100E6B9ED67}" dt="2022-10-25T12:15:56.001" v="712"/>
          <ac:cxnSpMkLst>
            <pc:docMk/>
            <pc:sldMk cId="614647594" sldId="257"/>
            <ac:cxnSpMk id="103" creationId="{87531485-B425-45DE-9C3C-4BC239A8B69A}"/>
          </ac:cxnSpMkLst>
        </pc:cxnChg>
        <pc:cxnChg chg="mod">
          <ac:chgData name="Ettore Minelli" userId="7870a1ad-01cf-4239-8cce-750deae7f4ef" providerId="ADAL" clId="{0FDC7236-0C66-43F6-99AF-1100E6B9ED67}" dt="2022-10-25T12:15:56.001" v="712"/>
          <ac:cxnSpMkLst>
            <pc:docMk/>
            <pc:sldMk cId="614647594" sldId="257"/>
            <ac:cxnSpMk id="104" creationId="{B573D1E0-98BB-476E-A70C-98F4CE687C5A}"/>
          </ac:cxnSpMkLst>
        </pc:cxnChg>
        <pc:cxnChg chg="mod">
          <ac:chgData name="Ettore Minelli" userId="7870a1ad-01cf-4239-8cce-750deae7f4ef" providerId="ADAL" clId="{0FDC7236-0C66-43F6-99AF-1100E6B9ED67}" dt="2022-10-25T12:15:56.001" v="712"/>
          <ac:cxnSpMkLst>
            <pc:docMk/>
            <pc:sldMk cId="614647594" sldId="257"/>
            <ac:cxnSpMk id="105" creationId="{64FD315E-5BF5-4FDF-822E-A6710F63B24A}"/>
          </ac:cxnSpMkLst>
        </pc:cxnChg>
        <pc:cxnChg chg="mod">
          <ac:chgData name="Ettore Minelli" userId="7870a1ad-01cf-4239-8cce-750deae7f4ef" providerId="ADAL" clId="{0FDC7236-0C66-43F6-99AF-1100E6B9ED67}" dt="2022-10-25T12:15:56.001" v="712"/>
          <ac:cxnSpMkLst>
            <pc:docMk/>
            <pc:sldMk cId="614647594" sldId="257"/>
            <ac:cxnSpMk id="106" creationId="{F2CCDC20-2526-44F1-A34D-F9E57667C68C}"/>
          </ac:cxnSpMkLst>
        </pc:cxnChg>
        <pc:cxnChg chg="mod">
          <ac:chgData name="Ettore Minelli" userId="7870a1ad-01cf-4239-8cce-750deae7f4ef" providerId="ADAL" clId="{0FDC7236-0C66-43F6-99AF-1100E6B9ED67}" dt="2022-10-25T12:15:56.001" v="712"/>
          <ac:cxnSpMkLst>
            <pc:docMk/>
            <pc:sldMk cId="614647594" sldId="257"/>
            <ac:cxnSpMk id="107" creationId="{14B16593-15E3-453A-8A97-8C69161A5B89}"/>
          </ac:cxnSpMkLst>
        </pc:cxnChg>
        <pc:cxnChg chg="mod">
          <ac:chgData name="Ettore Minelli" userId="7870a1ad-01cf-4239-8cce-750deae7f4ef" providerId="ADAL" clId="{0FDC7236-0C66-43F6-99AF-1100E6B9ED67}" dt="2022-10-25T12:15:56.001" v="712"/>
          <ac:cxnSpMkLst>
            <pc:docMk/>
            <pc:sldMk cId="614647594" sldId="257"/>
            <ac:cxnSpMk id="108" creationId="{7C49D579-F9AE-4CF1-9237-DFCF6057446C}"/>
          </ac:cxnSpMkLst>
        </pc:cxnChg>
        <pc:cxnChg chg="mod">
          <ac:chgData name="Ettore Minelli" userId="7870a1ad-01cf-4239-8cce-750deae7f4ef" providerId="ADAL" clId="{0FDC7236-0C66-43F6-99AF-1100E6B9ED67}" dt="2022-10-25T12:15:56.001" v="712"/>
          <ac:cxnSpMkLst>
            <pc:docMk/>
            <pc:sldMk cId="614647594" sldId="257"/>
            <ac:cxnSpMk id="109" creationId="{EF5DEB61-4F50-4AD0-BAFD-11B6B3D094AD}"/>
          </ac:cxnSpMkLst>
        </pc:cxnChg>
        <pc:cxnChg chg="mod">
          <ac:chgData name="Ettore Minelli" userId="7870a1ad-01cf-4239-8cce-750deae7f4ef" providerId="ADAL" clId="{0FDC7236-0C66-43F6-99AF-1100E6B9ED67}" dt="2022-10-25T12:15:56.001" v="712"/>
          <ac:cxnSpMkLst>
            <pc:docMk/>
            <pc:sldMk cId="614647594" sldId="257"/>
            <ac:cxnSpMk id="110" creationId="{408BF2D9-23C1-4FC1-9AA7-00C9D565C8C6}"/>
          </ac:cxnSpMkLst>
        </pc:cxnChg>
        <pc:cxnChg chg="mod">
          <ac:chgData name="Ettore Minelli" userId="7870a1ad-01cf-4239-8cce-750deae7f4ef" providerId="ADAL" clId="{0FDC7236-0C66-43F6-99AF-1100E6B9ED67}" dt="2022-10-25T12:15:56.001" v="712"/>
          <ac:cxnSpMkLst>
            <pc:docMk/>
            <pc:sldMk cId="614647594" sldId="257"/>
            <ac:cxnSpMk id="111" creationId="{E6854E1C-9EFE-4279-92A3-BD3F7AC5E6DC}"/>
          </ac:cxnSpMkLst>
        </pc:cxnChg>
        <pc:cxnChg chg="mod">
          <ac:chgData name="Ettore Minelli" userId="7870a1ad-01cf-4239-8cce-750deae7f4ef" providerId="ADAL" clId="{0FDC7236-0C66-43F6-99AF-1100E6B9ED67}" dt="2022-10-25T12:15:56.001" v="712"/>
          <ac:cxnSpMkLst>
            <pc:docMk/>
            <pc:sldMk cId="614647594" sldId="257"/>
            <ac:cxnSpMk id="112" creationId="{35F9FB63-48ED-4714-8C0D-66E85CFED57C}"/>
          </ac:cxnSpMkLst>
        </pc:cxnChg>
        <pc:cxnChg chg="mod">
          <ac:chgData name="Ettore Minelli" userId="7870a1ad-01cf-4239-8cce-750deae7f4ef" providerId="ADAL" clId="{0FDC7236-0C66-43F6-99AF-1100E6B9ED67}" dt="2022-10-25T12:15:56.001" v="712"/>
          <ac:cxnSpMkLst>
            <pc:docMk/>
            <pc:sldMk cId="614647594" sldId="257"/>
            <ac:cxnSpMk id="113" creationId="{7052688B-264A-42E2-B5BF-80E4275D2099}"/>
          </ac:cxnSpMkLst>
        </pc:cxnChg>
      </pc:sldChg>
      <pc:sldChg chg="addSp delSp modSp new mod">
        <pc:chgData name="Ettore Minelli" userId="7870a1ad-01cf-4239-8cce-750deae7f4ef" providerId="ADAL" clId="{0FDC7236-0C66-43F6-99AF-1100E6B9ED67}" dt="2022-10-25T13:02:24.910" v="799" actId="164"/>
        <pc:sldMkLst>
          <pc:docMk/>
          <pc:sldMk cId="1434477540" sldId="258"/>
        </pc:sldMkLst>
        <pc:spChg chg="add mod">
          <ac:chgData name="Ettore Minelli" userId="7870a1ad-01cf-4239-8cce-750deae7f4ef" providerId="ADAL" clId="{0FDC7236-0C66-43F6-99AF-1100E6B9ED67}" dt="2022-10-25T13:01:07.792" v="785" actId="164"/>
          <ac:spMkLst>
            <pc:docMk/>
            <pc:sldMk cId="1434477540" sldId="258"/>
            <ac:spMk id="10" creationId="{3BBF669A-E8DE-442B-8983-FD2B938A22F2}"/>
          </ac:spMkLst>
        </pc:spChg>
        <pc:spChg chg="add mod">
          <ac:chgData name="Ettore Minelli" userId="7870a1ad-01cf-4239-8cce-750deae7f4ef" providerId="ADAL" clId="{0FDC7236-0C66-43F6-99AF-1100E6B9ED67}" dt="2022-10-25T13:01:07.792" v="785" actId="164"/>
          <ac:spMkLst>
            <pc:docMk/>
            <pc:sldMk cId="1434477540" sldId="258"/>
            <ac:spMk id="11" creationId="{775C5DF0-373E-443B-97FC-6CEF37F388A3}"/>
          </ac:spMkLst>
        </pc:spChg>
        <pc:spChg chg="add mod">
          <ac:chgData name="Ettore Minelli" userId="7870a1ad-01cf-4239-8cce-750deae7f4ef" providerId="ADAL" clId="{0FDC7236-0C66-43F6-99AF-1100E6B9ED67}" dt="2022-10-25T13:01:07.792" v="785" actId="164"/>
          <ac:spMkLst>
            <pc:docMk/>
            <pc:sldMk cId="1434477540" sldId="258"/>
            <ac:spMk id="21" creationId="{FEEAF8AE-45B4-41E3-8BD1-9028ABD53A16}"/>
          </ac:spMkLst>
        </pc:spChg>
        <pc:spChg chg="add mod">
          <ac:chgData name="Ettore Minelli" userId="7870a1ad-01cf-4239-8cce-750deae7f4ef" providerId="ADAL" clId="{0FDC7236-0C66-43F6-99AF-1100E6B9ED67}" dt="2022-10-25T13:01:07.792" v="785" actId="164"/>
          <ac:spMkLst>
            <pc:docMk/>
            <pc:sldMk cId="1434477540" sldId="258"/>
            <ac:spMk id="22" creationId="{6B2E50ED-A866-474A-AAA1-B97178199DE9}"/>
          </ac:spMkLst>
        </pc:spChg>
        <pc:spChg chg="add mod">
          <ac:chgData name="Ettore Minelli" userId="7870a1ad-01cf-4239-8cce-750deae7f4ef" providerId="ADAL" clId="{0FDC7236-0C66-43F6-99AF-1100E6B9ED67}" dt="2022-10-25T13:01:07.792" v="785" actId="164"/>
          <ac:spMkLst>
            <pc:docMk/>
            <pc:sldMk cId="1434477540" sldId="258"/>
            <ac:spMk id="23" creationId="{A07B18EC-0F68-41D1-8C9C-CE0E18F04B03}"/>
          </ac:spMkLst>
        </pc:spChg>
        <pc:spChg chg="add mod">
          <ac:chgData name="Ettore Minelli" userId="7870a1ad-01cf-4239-8cce-750deae7f4ef" providerId="ADAL" clId="{0FDC7236-0C66-43F6-99AF-1100E6B9ED67}" dt="2022-10-25T13:01:07.792" v="785" actId="164"/>
          <ac:spMkLst>
            <pc:docMk/>
            <pc:sldMk cId="1434477540" sldId="258"/>
            <ac:spMk id="24" creationId="{7DCBDA33-0425-4A41-834C-6DC220EF206B}"/>
          </ac:spMkLst>
        </pc:spChg>
        <pc:spChg chg="mod topLvl">
          <ac:chgData name="Ettore Minelli" userId="7870a1ad-01cf-4239-8cce-750deae7f4ef" providerId="ADAL" clId="{0FDC7236-0C66-43F6-99AF-1100E6B9ED67}" dt="2022-10-25T13:02:06.334" v="796" actId="164"/>
          <ac:spMkLst>
            <pc:docMk/>
            <pc:sldMk cId="1434477540" sldId="258"/>
            <ac:spMk id="30" creationId="{C435E7E8-46B0-4CAF-8F91-9A04D7FA7297}"/>
          </ac:spMkLst>
        </pc:spChg>
        <pc:spChg chg="mod topLvl">
          <ac:chgData name="Ettore Minelli" userId="7870a1ad-01cf-4239-8cce-750deae7f4ef" providerId="ADAL" clId="{0FDC7236-0C66-43F6-99AF-1100E6B9ED67}" dt="2022-10-25T13:02:06.334" v="796" actId="164"/>
          <ac:spMkLst>
            <pc:docMk/>
            <pc:sldMk cId="1434477540" sldId="258"/>
            <ac:spMk id="31" creationId="{370A4D09-EEF8-4490-8E29-95988F0E09BD}"/>
          </ac:spMkLst>
        </pc:spChg>
        <pc:spChg chg="mod topLvl">
          <ac:chgData name="Ettore Minelli" userId="7870a1ad-01cf-4239-8cce-750deae7f4ef" providerId="ADAL" clId="{0FDC7236-0C66-43F6-99AF-1100E6B9ED67}" dt="2022-10-25T13:02:06.334" v="796" actId="164"/>
          <ac:spMkLst>
            <pc:docMk/>
            <pc:sldMk cId="1434477540" sldId="258"/>
            <ac:spMk id="36" creationId="{39532724-CAAB-49E0-88CB-B5737E650595}"/>
          </ac:spMkLst>
        </pc:spChg>
        <pc:spChg chg="mod topLvl">
          <ac:chgData name="Ettore Minelli" userId="7870a1ad-01cf-4239-8cce-750deae7f4ef" providerId="ADAL" clId="{0FDC7236-0C66-43F6-99AF-1100E6B9ED67}" dt="2022-10-25T13:02:06.334" v="796" actId="164"/>
          <ac:spMkLst>
            <pc:docMk/>
            <pc:sldMk cId="1434477540" sldId="258"/>
            <ac:spMk id="37" creationId="{0D85216C-CB73-40F5-AEFE-151CFA76AD1C}"/>
          </ac:spMkLst>
        </pc:spChg>
        <pc:spChg chg="mod topLvl">
          <ac:chgData name="Ettore Minelli" userId="7870a1ad-01cf-4239-8cce-750deae7f4ef" providerId="ADAL" clId="{0FDC7236-0C66-43F6-99AF-1100E6B9ED67}" dt="2022-10-25T13:02:06.334" v="796" actId="164"/>
          <ac:spMkLst>
            <pc:docMk/>
            <pc:sldMk cId="1434477540" sldId="258"/>
            <ac:spMk id="38" creationId="{AED5A7C1-F396-4663-9A3C-45F65BB54F5C}"/>
          </ac:spMkLst>
        </pc:spChg>
        <pc:spChg chg="mod topLvl">
          <ac:chgData name="Ettore Minelli" userId="7870a1ad-01cf-4239-8cce-750deae7f4ef" providerId="ADAL" clId="{0FDC7236-0C66-43F6-99AF-1100E6B9ED67}" dt="2022-10-25T13:02:06.334" v="796" actId="164"/>
          <ac:spMkLst>
            <pc:docMk/>
            <pc:sldMk cId="1434477540" sldId="258"/>
            <ac:spMk id="39" creationId="{A30FDA28-A424-46ED-90EB-17BFB9FD6D95}"/>
          </ac:spMkLst>
        </pc:spChg>
        <pc:grpChg chg="add mod">
          <ac:chgData name="Ettore Minelli" userId="7870a1ad-01cf-4239-8cce-750deae7f4ef" providerId="ADAL" clId="{0FDC7236-0C66-43F6-99AF-1100E6B9ED67}" dt="2022-10-25T13:02:24.910" v="799" actId="164"/>
          <ac:grpSpMkLst>
            <pc:docMk/>
            <pc:sldMk cId="1434477540" sldId="258"/>
            <ac:grpSpMk id="25" creationId="{19B62E81-D490-49C4-A491-C92CD4C7AC36}"/>
          </ac:grpSpMkLst>
        </pc:grpChg>
        <pc:grpChg chg="add del mod">
          <ac:chgData name="Ettore Minelli" userId="7870a1ad-01cf-4239-8cce-750deae7f4ef" providerId="ADAL" clId="{0FDC7236-0C66-43F6-99AF-1100E6B9ED67}" dt="2022-10-25T13:01:23.497" v="789" actId="165"/>
          <ac:grpSpMkLst>
            <pc:docMk/>
            <pc:sldMk cId="1434477540" sldId="258"/>
            <ac:grpSpMk id="26" creationId="{040FE75C-3C2A-4246-B0F3-D25684B17963}"/>
          </ac:grpSpMkLst>
        </pc:grpChg>
        <pc:grpChg chg="add mod">
          <ac:chgData name="Ettore Minelli" userId="7870a1ad-01cf-4239-8cce-750deae7f4ef" providerId="ADAL" clId="{0FDC7236-0C66-43F6-99AF-1100E6B9ED67}" dt="2022-10-25T13:02:24.910" v="799" actId="164"/>
          <ac:grpSpMkLst>
            <pc:docMk/>
            <pc:sldMk cId="1434477540" sldId="258"/>
            <ac:grpSpMk id="43" creationId="{C1946FF2-0880-4BF3-9B58-984FBC758D1B}"/>
          </ac:grpSpMkLst>
        </pc:grpChg>
        <pc:grpChg chg="add mod">
          <ac:chgData name="Ettore Minelli" userId="7870a1ad-01cf-4239-8cce-750deae7f4ef" providerId="ADAL" clId="{0FDC7236-0C66-43F6-99AF-1100E6B9ED67}" dt="2022-10-25T13:02:24.910" v="799" actId="164"/>
          <ac:grpSpMkLst>
            <pc:docMk/>
            <pc:sldMk cId="1434477540" sldId="258"/>
            <ac:grpSpMk id="44" creationId="{14FBF542-9DD1-4FA5-B296-90A64B7B8275}"/>
          </ac:grpSpMkLst>
        </pc:grpChg>
        <pc:cxnChg chg="add del">
          <ac:chgData name="Ettore Minelli" userId="7870a1ad-01cf-4239-8cce-750deae7f4ef" providerId="ADAL" clId="{0FDC7236-0C66-43F6-99AF-1100E6B9ED67}" dt="2022-10-25T12:55:40.905" v="716" actId="11529"/>
          <ac:cxnSpMkLst>
            <pc:docMk/>
            <pc:sldMk cId="1434477540" sldId="258"/>
            <ac:cxnSpMk id="3" creationId="{86604170-6061-4BF0-AB81-D3CA0EC966A0}"/>
          </ac:cxnSpMkLst>
        </pc:cxnChg>
        <pc:cxnChg chg="add mod">
          <ac:chgData name="Ettore Minelli" userId="7870a1ad-01cf-4239-8cce-750deae7f4ef" providerId="ADAL" clId="{0FDC7236-0C66-43F6-99AF-1100E6B9ED67}" dt="2022-10-25T13:01:07.792" v="785" actId="164"/>
          <ac:cxnSpMkLst>
            <pc:docMk/>
            <pc:sldMk cId="1434477540" sldId="258"/>
            <ac:cxnSpMk id="5" creationId="{78A97FFE-7301-40FD-9061-75D141FB2FD7}"/>
          </ac:cxnSpMkLst>
        </pc:cxnChg>
        <pc:cxnChg chg="add mod">
          <ac:chgData name="Ettore Minelli" userId="7870a1ad-01cf-4239-8cce-750deae7f4ef" providerId="ADAL" clId="{0FDC7236-0C66-43F6-99AF-1100E6B9ED67}" dt="2022-10-25T13:01:07.792" v="785" actId="164"/>
          <ac:cxnSpMkLst>
            <pc:docMk/>
            <pc:sldMk cId="1434477540" sldId="258"/>
            <ac:cxnSpMk id="7" creationId="{FB62A651-8EB5-4ED6-8BF3-43D388066339}"/>
          </ac:cxnSpMkLst>
        </pc:cxnChg>
        <pc:cxnChg chg="add mod">
          <ac:chgData name="Ettore Minelli" userId="7870a1ad-01cf-4239-8cce-750deae7f4ef" providerId="ADAL" clId="{0FDC7236-0C66-43F6-99AF-1100E6B9ED67}" dt="2022-10-25T13:01:07.792" v="785" actId="164"/>
          <ac:cxnSpMkLst>
            <pc:docMk/>
            <pc:sldMk cId="1434477540" sldId="258"/>
            <ac:cxnSpMk id="9" creationId="{7CA132FA-1937-4C93-BEA6-95D06B5A6D52}"/>
          </ac:cxnSpMkLst>
        </pc:cxnChg>
        <pc:cxnChg chg="add mod">
          <ac:chgData name="Ettore Minelli" userId="7870a1ad-01cf-4239-8cce-750deae7f4ef" providerId="ADAL" clId="{0FDC7236-0C66-43F6-99AF-1100E6B9ED67}" dt="2022-10-25T13:01:07.792" v="785" actId="164"/>
          <ac:cxnSpMkLst>
            <pc:docMk/>
            <pc:sldMk cId="1434477540" sldId="258"/>
            <ac:cxnSpMk id="13" creationId="{A5AAE5BF-BC75-4AB8-9C70-7CADB6658783}"/>
          </ac:cxnSpMkLst>
        </pc:cxnChg>
        <pc:cxnChg chg="add mod">
          <ac:chgData name="Ettore Minelli" userId="7870a1ad-01cf-4239-8cce-750deae7f4ef" providerId="ADAL" clId="{0FDC7236-0C66-43F6-99AF-1100E6B9ED67}" dt="2022-10-25T13:01:07.792" v="785" actId="164"/>
          <ac:cxnSpMkLst>
            <pc:docMk/>
            <pc:sldMk cId="1434477540" sldId="258"/>
            <ac:cxnSpMk id="14" creationId="{54B4789A-D5AA-4628-AFBC-30EB4E2BBDD2}"/>
          </ac:cxnSpMkLst>
        </pc:cxnChg>
        <pc:cxnChg chg="add mod">
          <ac:chgData name="Ettore Minelli" userId="7870a1ad-01cf-4239-8cce-750deae7f4ef" providerId="ADAL" clId="{0FDC7236-0C66-43F6-99AF-1100E6B9ED67}" dt="2022-10-25T13:01:07.792" v="785" actId="164"/>
          <ac:cxnSpMkLst>
            <pc:docMk/>
            <pc:sldMk cId="1434477540" sldId="258"/>
            <ac:cxnSpMk id="18" creationId="{53C0BEB7-D998-4FEE-A334-0A594DA30631}"/>
          </ac:cxnSpMkLst>
        </pc:cxnChg>
        <pc:cxnChg chg="add mod">
          <ac:chgData name="Ettore Minelli" userId="7870a1ad-01cf-4239-8cce-750deae7f4ef" providerId="ADAL" clId="{0FDC7236-0C66-43F6-99AF-1100E6B9ED67}" dt="2022-10-25T13:01:07.792" v="785" actId="164"/>
          <ac:cxnSpMkLst>
            <pc:docMk/>
            <pc:sldMk cId="1434477540" sldId="258"/>
            <ac:cxnSpMk id="20" creationId="{ADD5DCE6-263A-4F16-8A32-2A99D2DB2D80}"/>
          </ac:cxnSpMkLst>
        </pc:cxnChg>
        <pc:cxnChg chg="mod topLvl">
          <ac:chgData name="Ettore Minelli" userId="7870a1ad-01cf-4239-8cce-750deae7f4ef" providerId="ADAL" clId="{0FDC7236-0C66-43F6-99AF-1100E6B9ED67}" dt="2022-10-25T13:02:06.334" v="796" actId="164"/>
          <ac:cxnSpMkLst>
            <pc:docMk/>
            <pc:sldMk cId="1434477540" sldId="258"/>
            <ac:cxnSpMk id="27" creationId="{EBCFD897-D70A-4CAE-8FBA-0E37122D79F1}"/>
          </ac:cxnSpMkLst>
        </pc:cxnChg>
        <pc:cxnChg chg="mod topLvl">
          <ac:chgData name="Ettore Minelli" userId="7870a1ad-01cf-4239-8cce-750deae7f4ef" providerId="ADAL" clId="{0FDC7236-0C66-43F6-99AF-1100E6B9ED67}" dt="2022-10-25T13:02:06.334" v="796" actId="164"/>
          <ac:cxnSpMkLst>
            <pc:docMk/>
            <pc:sldMk cId="1434477540" sldId="258"/>
            <ac:cxnSpMk id="28" creationId="{D825E39A-B49C-4629-ACCA-89F599559547}"/>
          </ac:cxnSpMkLst>
        </pc:cxnChg>
        <pc:cxnChg chg="mod topLvl">
          <ac:chgData name="Ettore Minelli" userId="7870a1ad-01cf-4239-8cce-750deae7f4ef" providerId="ADAL" clId="{0FDC7236-0C66-43F6-99AF-1100E6B9ED67}" dt="2022-10-25T13:02:06.334" v="796" actId="164"/>
          <ac:cxnSpMkLst>
            <pc:docMk/>
            <pc:sldMk cId="1434477540" sldId="258"/>
            <ac:cxnSpMk id="29" creationId="{A5F7EBDC-4652-456F-A8CA-69AA9A53B2C5}"/>
          </ac:cxnSpMkLst>
        </pc:cxnChg>
        <pc:cxnChg chg="mod topLvl">
          <ac:chgData name="Ettore Minelli" userId="7870a1ad-01cf-4239-8cce-750deae7f4ef" providerId="ADAL" clId="{0FDC7236-0C66-43F6-99AF-1100E6B9ED67}" dt="2022-10-25T13:02:06.334" v="796" actId="164"/>
          <ac:cxnSpMkLst>
            <pc:docMk/>
            <pc:sldMk cId="1434477540" sldId="258"/>
            <ac:cxnSpMk id="32" creationId="{AF85BDF4-9774-4EDE-9358-D809914EE798}"/>
          </ac:cxnSpMkLst>
        </pc:cxnChg>
        <pc:cxnChg chg="mod topLvl">
          <ac:chgData name="Ettore Minelli" userId="7870a1ad-01cf-4239-8cce-750deae7f4ef" providerId="ADAL" clId="{0FDC7236-0C66-43F6-99AF-1100E6B9ED67}" dt="2022-10-25T13:02:06.334" v="796" actId="164"/>
          <ac:cxnSpMkLst>
            <pc:docMk/>
            <pc:sldMk cId="1434477540" sldId="258"/>
            <ac:cxnSpMk id="33" creationId="{BB6DB408-DD4A-46FF-9858-85CB0A5CDD33}"/>
          </ac:cxnSpMkLst>
        </pc:cxnChg>
        <pc:cxnChg chg="mod topLvl">
          <ac:chgData name="Ettore Minelli" userId="7870a1ad-01cf-4239-8cce-750deae7f4ef" providerId="ADAL" clId="{0FDC7236-0C66-43F6-99AF-1100E6B9ED67}" dt="2022-10-25T13:02:06.334" v="796" actId="164"/>
          <ac:cxnSpMkLst>
            <pc:docMk/>
            <pc:sldMk cId="1434477540" sldId="258"/>
            <ac:cxnSpMk id="34" creationId="{FCF1616B-386F-4CF2-BBE0-7E6EA14BA26F}"/>
          </ac:cxnSpMkLst>
        </pc:cxnChg>
        <pc:cxnChg chg="mod topLvl">
          <ac:chgData name="Ettore Minelli" userId="7870a1ad-01cf-4239-8cce-750deae7f4ef" providerId="ADAL" clId="{0FDC7236-0C66-43F6-99AF-1100E6B9ED67}" dt="2022-10-25T13:02:06.334" v="796" actId="164"/>
          <ac:cxnSpMkLst>
            <pc:docMk/>
            <pc:sldMk cId="1434477540" sldId="258"/>
            <ac:cxnSpMk id="35" creationId="{AE5F7616-607D-4827-9518-A0F841D7C30B}"/>
          </ac:cxnSpMkLst>
        </pc:cxnChg>
      </pc:sldChg>
      <pc:sldChg chg="addSp delSp modSp add mod">
        <pc:chgData name="Ettore Minelli" userId="7870a1ad-01cf-4239-8cce-750deae7f4ef" providerId="ADAL" clId="{0FDC7236-0C66-43F6-99AF-1100E6B9ED67}" dt="2022-10-26T08:29:40.108" v="987" actId="164"/>
        <pc:sldMkLst>
          <pc:docMk/>
          <pc:sldMk cId="2507235670" sldId="259"/>
        </pc:sldMkLst>
        <pc:spChg chg="mod topLvl">
          <ac:chgData name="Ettore Minelli" userId="7870a1ad-01cf-4239-8cce-750deae7f4ef" providerId="ADAL" clId="{0FDC7236-0C66-43F6-99AF-1100E6B9ED67}" dt="2022-10-25T16:18:26.925" v="878" actId="164"/>
          <ac:spMkLst>
            <pc:docMk/>
            <pc:sldMk cId="2507235670" sldId="259"/>
            <ac:spMk id="10" creationId="{3BBF669A-E8DE-442B-8983-FD2B938A22F2}"/>
          </ac:spMkLst>
        </pc:spChg>
        <pc:spChg chg="mod topLvl">
          <ac:chgData name="Ettore Minelli" userId="7870a1ad-01cf-4239-8cce-750deae7f4ef" providerId="ADAL" clId="{0FDC7236-0C66-43F6-99AF-1100E6B9ED67}" dt="2022-10-25T16:18:26.925" v="878" actId="164"/>
          <ac:spMkLst>
            <pc:docMk/>
            <pc:sldMk cId="2507235670" sldId="259"/>
            <ac:spMk id="11" creationId="{775C5DF0-373E-443B-97FC-6CEF37F388A3}"/>
          </ac:spMkLst>
        </pc:spChg>
        <pc:spChg chg="mod topLvl">
          <ac:chgData name="Ettore Minelli" userId="7870a1ad-01cf-4239-8cce-750deae7f4ef" providerId="ADAL" clId="{0FDC7236-0C66-43F6-99AF-1100E6B9ED67}" dt="2022-10-26T07:53:06.286" v="905" actId="164"/>
          <ac:spMkLst>
            <pc:docMk/>
            <pc:sldMk cId="2507235670" sldId="259"/>
            <ac:spMk id="18" creationId="{90C6FFC9-53FB-4682-8BDB-566D6C1EC8F7}"/>
          </ac:spMkLst>
        </pc:spChg>
        <pc:spChg chg="mod topLvl">
          <ac:chgData name="Ettore Minelli" userId="7870a1ad-01cf-4239-8cce-750deae7f4ef" providerId="ADAL" clId="{0FDC7236-0C66-43F6-99AF-1100E6B9ED67}" dt="2022-10-26T07:53:06.286" v="905" actId="164"/>
          <ac:spMkLst>
            <pc:docMk/>
            <pc:sldMk cId="2507235670" sldId="259"/>
            <ac:spMk id="19" creationId="{90FFD87D-9490-403C-A197-4C6E44654516}"/>
          </ac:spMkLst>
        </pc:spChg>
        <pc:spChg chg="mod topLvl">
          <ac:chgData name="Ettore Minelli" userId="7870a1ad-01cf-4239-8cce-750deae7f4ef" providerId="ADAL" clId="{0FDC7236-0C66-43F6-99AF-1100E6B9ED67}" dt="2022-10-26T07:53:06.286" v="905" actId="164"/>
          <ac:spMkLst>
            <pc:docMk/>
            <pc:sldMk cId="2507235670" sldId="259"/>
            <ac:spMk id="20" creationId="{7252632C-CEB0-4C3D-B19C-4F14B8C179F3}"/>
          </ac:spMkLst>
        </pc:spChg>
        <pc:spChg chg="mod topLvl">
          <ac:chgData name="Ettore Minelli" userId="7870a1ad-01cf-4239-8cce-750deae7f4ef" providerId="ADAL" clId="{0FDC7236-0C66-43F6-99AF-1100E6B9ED67}" dt="2022-10-26T07:53:06.286" v="905" actId="164"/>
          <ac:spMkLst>
            <pc:docMk/>
            <pc:sldMk cId="2507235670" sldId="259"/>
            <ac:spMk id="21" creationId="{431D906B-3BF6-4AC1-BFF5-78442D167C3E}"/>
          </ac:spMkLst>
        </pc:spChg>
        <pc:spChg chg="del mod topLvl">
          <ac:chgData name="Ettore Minelli" userId="7870a1ad-01cf-4239-8cce-750deae7f4ef" providerId="ADAL" clId="{0FDC7236-0C66-43F6-99AF-1100E6B9ED67}" dt="2022-10-25T16:16:45.207" v="811" actId="478"/>
          <ac:spMkLst>
            <pc:docMk/>
            <pc:sldMk cId="2507235670" sldId="259"/>
            <ac:spMk id="21" creationId="{FEEAF8AE-45B4-41E3-8BD1-9028ABD53A16}"/>
          </ac:spMkLst>
        </pc:spChg>
        <pc:spChg chg="mod topLvl">
          <ac:chgData name="Ettore Minelli" userId="7870a1ad-01cf-4239-8cce-750deae7f4ef" providerId="ADAL" clId="{0FDC7236-0C66-43F6-99AF-1100E6B9ED67}" dt="2022-10-25T16:18:26.925" v="878" actId="164"/>
          <ac:spMkLst>
            <pc:docMk/>
            <pc:sldMk cId="2507235670" sldId="259"/>
            <ac:spMk id="22" creationId="{6B2E50ED-A866-474A-AAA1-B97178199DE9}"/>
          </ac:spMkLst>
        </pc:spChg>
        <pc:spChg chg="add del mod topLvl">
          <ac:chgData name="Ettore Minelli" userId="7870a1ad-01cf-4239-8cce-750deae7f4ef" providerId="ADAL" clId="{0FDC7236-0C66-43F6-99AF-1100E6B9ED67}" dt="2022-10-25T16:18:26.925" v="878" actId="164"/>
          <ac:spMkLst>
            <pc:docMk/>
            <pc:sldMk cId="2507235670" sldId="259"/>
            <ac:spMk id="23" creationId="{A07B18EC-0F68-41D1-8C9C-CE0E18F04B03}"/>
          </ac:spMkLst>
        </pc:spChg>
        <pc:spChg chg="mod topLvl">
          <ac:chgData name="Ettore Minelli" userId="7870a1ad-01cf-4239-8cce-750deae7f4ef" providerId="ADAL" clId="{0FDC7236-0C66-43F6-99AF-1100E6B9ED67}" dt="2022-10-25T16:18:26.925" v="878" actId="164"/>
          <ac:spMkLst>
            <pc:docMk/>
            <pc:sldMk cId="2507235670" sldId="259"/>
            <ac:spMk id="24" creationId="{7DCBDA33-0425-4A41-834C-6DC220EF206B}"/>
          </ac:spMkLst>
        </pc:spChg>
        <pc:spChg chg="del mod topLvl">
          <ac:chgData name="Ettore Minelli" userId="7870a1ad-01cf-4239-8cce-750deae7f4ef" providerId="ADAL" clId="{0FDC7236-0C66-43F6-99AF-1100E6B9ED67}" dt="2022-10-26T07:51:52.719" v="885" actId="478"/>
          <ac:spMkLst>
            <pc:docMk/>
            <pc:sldMk cId="2507235670" sldId="259"/>
            <ac:spMk id="25" creationId="{5FA72A09-0821-4C35-A6B3-D494155610EC}"/>
          </ac:spMkLst>
        </pc:spChg>
        <pc:spChg chg="mod topLvl">
          <ac:chgData name="Ettore Minelli" userId="7870a1ad-01cf-4239-8cce-750deae7f4ef" providerId="ADAL" clId="{0FDC7236-0C66-43F6-99AF-1100E6B9ED67}" dt="2022-10-26T07:53:06.286" v="905" actId="164"/>
          <ac:spMkLst>
            <pc:docMk/>
            <pc:sldMk cId="2507235670" sldId="259"/>
            <ac:spMk id="28" creationId="{1D08173C-BB53-4589-A46E-A2EA6599E7AA}"/>
          </ac:spMkLst>
        </pc:spChg>
        <pc:spChg chg="add mod">
          <ac:chgData name="Ettore Minelli" userId="7870a1ad-01cf-4239-8cce-750deae7f4ef" providerId="ADAL" clId="{0FDC7236-0C66-43F6-99AF-1100E6B9ED67}" dt="2022-10-26T07:53:06.286" v="905" actId="164"/>
          <ac:spMkLst>
            <pc:docMk/>
            <pc:sldMk cId="2507235670" sldId="259"/>
            <ac:spMk id="29" creationId="{8B0FF11E-CE3E-4FDE-8DFB-3786E8F7C13A}"/>
          </ac:spMkLst>
        </pc:spChg>
        <pc:spChg chg="mod">
          <ac:chgData name="Ettore Minelli" userId="7870a1ad-01cf-4239-8cce-750deae7f4ef" providerId="ADAL" clId="{0FDC7236-0C66-43F6-99AF-1100E6B9ED67}" dt="2022-10-25T16:16:18.302" v="801" actId="165"/>
          <ac:spMkLst>
            <pc:docMk/>
            <pc:sldMk cId="2507235670" sldId="259"/>
            <ac:spMk id="30" creationId="{C435E7E8-46B0-4CAF-8F91-9A04D7FA7297}"/>
          </ac:spMkLst>
        </pc:spChg>
        <pc:spChg chg="mod">
          <ac:chgData name="Ettore Minelli" userId="7870a1ad-01cf-4239-8cce-750deae7f4ef" providerId="ADAL" clId="{0FDC7236-0C66-43F6-99AF-1100E6B9ED67}" dt="2022-10-25T16:16:18.302" v="801" actId="165"/>
          <ac:spMkLst>
            <pc:docMk/>
            <pc:sldMk cId="2507235670" sldId="259"/>
            <ac:spMk id="31" creationId="{370A4D09-EEF8-4490-8E29-95988F0E09BD}"/>
          </ac:spMkLst>
        </pc:spChg>
        <pc:spChg chg="mod">
          <ac:chgData name="Ettore Minelli" userId="7870a1ad-01cf-4239-8cce-750deae7f4ef" providerId="ADAL" clId="{0FDC7236-0C66-43F6-99AF-1100E6B9ED67}" dt="2022-10-25T16:16:18.302" v="801" actId="165"/>
          <ac:spMkLst>
            <pc:docMk/>
            <pc:sldMk cId="2507235670" sldId="259"/>
            <ac:spMk id="36" creationId="{39532724-CAAB-49E0-88CB-B5737E650595}"/>
          </ac:spMkLst>
        </pc:spChg>
        <pc:spChg chg="mod topLvl">
          <ac:chgData name="Ettore Minelli" userId="7870a1ad-01cf-4239-8cce-750deae7f4ef" providerId="ADAL" clId="{0FDC7236-0C66-43F6-99AF-1100E6B9ED67}" dt="2022-10-26T08:01:46.785" v="935" actId="164"/>
          <ac:spMkLst>
            <pc:docMk/>
            <pc:sldMk cId="2507235670" sldId="259"/>
            <ac:spMk id="36" creationId="{B0E2EBD6-536D-464F-ADE0-ADD3F3F597C0}"/>
          </ac:spMkLst>
        </pc:spChg>
        <pc:spChg chg="mod topLvl">
          <ac:chgData name="Ettore Minelli" userId="7870a1ad-01cf-4239-8cce-750deae7f4ef" providerId="ADAL" clId="{0FDC7236-0C66-43F6-99AF-1100E6B9ED67}" dt="2022-10-26T08:01:46.785" v="935" actId="164"/>
          <ac:spMkLst>
            <pc:docMk/>
            <pc:sldMk cId="2507235670" sldId="259"/>
            <ac:spMk id="37" creationId="{08B5E5EC-332D-452F-B1CA-8898CDF544F2}"/>
          </ac:spMkLst>
        </pc:spChg>
        <pc:spChg chg="mod">
          <ac:chgData name="Ettore Minelli" userId="7870a1ad-01cf-4239-8cce-750deae7f4ef" providerId="ADAL" clId="{0FDC7236-0C66-43F6-99AF-1100E6B9ED67}" dt="2022-10-25T16:16:18.302" v="801" actId="165"/>
          <ac:spMkLst>
            <pc:docMk/>
            <pc:sldMk cId="2507235670" sldId="259"/>
            <ac:spMk id="37" creationId="{0D85216C-CB73-40F5-AEFE-151CFA76AD1C}"/>
          </ac:spMkLst>
        </pc:spChg>
        <pc:spChg chg="mod">
          <ac:chgData name="Ettore Minelli" userId="7870a1ad-01cf-4239-8cce-750deae7f4ef" providerId="ADAL" clId="{0FDC7236-0C66-43F6-99AF-1100E6B9ED67}" dt="2022-10-25T16:16:18.302" v="801" actId="165"/>
          <ac:spMkLst>
            <pc:docMk/>
            <pc:sldMk cId="2507235670" sldId="259"/>
            <ac:spMk id="38" creationId="{AED5A7C1-F396-4663-9A3C-45F65BB54F5C}"/>
          </ac:spMkLst>
        </pc:spChg>
        <pc:spChg chg="del mod topLvl">
          <ac:chgData name="Ettore Minelli" userId="7870a1ad-01cf-4239-8cce-750deae7f4ef" providerId="ADAL" clId="{0FDC7236-0C66-43F6-99AF-1100E6B9ED67}" dt="2022-10-26T08:00:48.923" v="911" actId="478"/>
          <ac:spMkLst>
            <pc:docMk/>
            <pc:sldMk cId="2507235670" sldId="259"/>
            <ac:spMk id="38" creationId="{CAF47F6C-EFF4-42F7-8985-731FEAD720E0}"/>
          </ac:spMkLst>
        </pc:spChg>
        <pc:spChg chg="mod">
          <ac:chgData name="Ettore Minelli" userId="7870a1ad-01cf-4239-8cce-750deae7f4ef" providerId="ADAL" clId="{0FDC7236-0C66-43F6-99AF-1100E6B9ED67}" dt="2022-10-25T16:16:18.302" v="801" actId="165"/>
          <ac:spMkLst>
            <pc:docMk/>
            <pc:sldMk cId="2507235670" sldId="259"/>
            <ac:spMk id="39" creationId="{A30FDA28-A424-46ED-90EB-17BFB9FD6D95}"/>
          </ac:spMkLst>
        </pc:spChg>
        <pc:spChg chg="del mod topLvl">
          <ac:chgData name="Ettore Minelli" userId="7870a1ad-01cf-4239-8cce-750deae7f4ef" providerId="ADAL" clId="{0FDC7236-0C66-43F6-99AF-1100E6B9ED67}" dt="2022-10-26T08:00:46.940" v="909" actId="478"/>
          <ac:spMkLst>
            <pc:docMk/>
            <pc:sldMk cId="2507235670" sldId="259"/>
            <ac:spMk id="39" creationId="{AA261915-586B-439D-99CF-DD5EA8BF0D3E}"/>
          </ac:spMkLst>
        </pc:spChg>
        <pc:spChg chg="add mod">
          <ac:chgData name="Ettore Minelli" userId="7870a1ad-01cf-4239-8cce-750deae7f4ef" providerId="ADAL" clId="{0FDC7236-0C66-43F6-99AF-1100E6B9ED67}" dt="2022-10-25T16:18:26.925" v="878" actId="164"/>
          <ac:spMkLst>
            <pc:docMk/>
            <pc:sldMk cId="2507235670" sldId="259"/>
            <ac:spMk id="41" creationId="{57DEE68E-74B3-4001-89F0-F6F94CE92DF4}"/>
          </ac:spMkLst>
        </pc:spChg>
        <pc:spChg chg="mod topLvl">
          <ac:chgData name="Ettore Minelli" userId="7870a1ad-01cf-4239-8cce-750deae7f4ef" providerId="ADAL" clId="{0FDC7236-0C66-43F6-99AF-1100E6B9ED67}" dt="2022-10-26T08:01:46.785" v="935" actId="164"/>
          <ac:spMkLst>
            <pc:docMk/>
            <pc:sldMk cId="2507235670" sldId="259"/>
            <ac:spMk id="42" creationId="{13D3218C-FC4E-4392-A947-63E2E5545538}"/>
          </ac:spMkLst>
        </pc:spChg>
        <pc:spChg chg="del mod topLvl">
          <ac:chgData name="Ettore Minelli" userId="7870a1ad-01cf-4239-8cce-750deae7f4ef" providerId="ADAL" clId="{0FDC7236-0C66-43F6-99AF-1100E6B9ED67}" dt="2022-10-26T08:00:48.373" v="910" actId="478"/>
          <ac:spMkLst>
            <pc:docMk/>
            <pc:sldMk cId="2507235670" sldId="259"/>
            <ac:spMk id="43" creationId="{3877AA03-A6E5-475E-8E0E-71B0E64020B6}"/>
          </ac:spMkLst>
        </pc:spChg>
        <pc:spChg chg="add mod">
          <ac:chgData name="Ettore Minelli" userId="7870a1ad-01cf-4239-8cce-750deae7f4ef" providerId="ADAL" clId="{0FDC7236-0C66-43F6-99AF-1100E6B9ED67}" dt="2022-10-26T08:01:46.785" v="935" actId="164"/>
          <ac:spMkLst>
            <pc:docMk/>
            <pc:sldMk cId="2507235670" sldId="259"/>
            <ac:spMk id="47" creationId="{87C12BA4-52DA-4CDD-8D44-D51644168164}"/>
          </ac:spMkLst>
        </pc:spChg>
        <pc:spChg chg="mod topLvl">
          <ac:chgData name="Ettore Minelli" userId="7870a1ad-01cf-4239-8cce-750deae7f4ef" providerId="ADAL" clId="{0FDC7236-0C66-43F6-99AF-1100E6B9ED67}" dt="2022-10-26T08:18:29.616" v="950" actId="164"/>
          <ac:spMkLst>
            <pc:docMk/>
            <pc:sldMk cId="2507235670" sldId="259"/>
            <ac:spMk id="52" creationId="{64FF9510-4009-4CBC-8CD8-606AA6D6A3D9}"/>
          </ac:spMkLst>
        </pc:spChg>
        <pc:spChg chg="mod topLvl">
          <ac:chgData name="Ettore Minelli" userId="7870a1ad-01cf-4239-8cce-750deae7f4ef" providerId="ADAL" clId="{0FDC7236-0C66-43F6-99AF-1100E6B9ED67}" dt="2022-10-26T08:18:29.616" v="950" actId="164"/>
          <ac:spMkLst>
            <pc:docMk/>
            <pc:sldMk cId="2507235670" sldId="259"/>
            <ac:spMk id="53" creationId="{66F621AA-F1C9-4FD5-B624-BAC7D5492237}"/>
          </ac:spMkLst>
        </pc:spChg>
        <pc:spChg chg="del mod topLvl">
          <ac:chgData name="Ettore Minelli" userId="7870a1ad-01cf-4239-8cce-750deae7f4ef" providerId="ADAL" clId="{0FDC7236-0C66-43F6-99AF-1100E6B9ED67}" dt="2022-10-26T08:18:01.349" v="941" actId="478"/>
          <ac:spMkLst>
            <pc:docMk/>
            <pc:sldMk cId="2507235670" sldId="259"/>
            <ac:spMk id="54" creationId="{8489CAE8-5069-4CEA-897C-28EB0BDBF110}"/>
          </ac:spMkLst>
        </pc:spChg>
        <pc:spChg chg="del mod topLvl">
          <ac:chgData name="Ettore Minelli" userId="7870a1ad-01cf-4239-8cce-750deae7f4ef" providerId="ADAL" clId="{0FDC7236-0C66-43F6-99AF-1100E6B9ED67}" dt="2022-10-26T08:18:00.449" v="940" actId="478"/>
          <ac:spMkLst>
            <pc:docMk/>
            <pc:sldMk cId="2507235670" sldId="259"/>
            <ac:spMk id="56" creationId="{D4E233BE-05F8-4AC8-A055-FB1DCD8210FC}"/>
          </ac:spMkLst>
        </pc:spChg>
        <pc:spChg chg="mod">
          <ac:chgData name="Ettore Minelli" userId="7870a1ad-01cf-4239-8cce-750deae7f4ef" providerId="ADAL" clId="{0FDC7236-0C66-43F6-99AF-1100E6B9ED67}" dt="2022-10-26T08:26:06.570" v="951"/>
          <ac:spMkLst>
            <pc:docMk/>
            <pc:sldMk cId="2507235670" sldId="259"/>
            <ac:spMk id="64" creationId="{F9D6F4D3-3920-4269-B5E1-22D388D1FB31}"/>
          </ac:spMkLst>
        </pc:spChg>
        <pc:spChg chg="mod">
          <ac:chgData name="Ettore Minelli" userId="7870a1ad-01cf-4239-8cce-750deae7f4ef" providerId="ADAL" clId="{0FDC7236-0C66-43F6-99AF-1100E6B9ED67}" dt="2022-10-26T08:26:06.570" v="951"/>
          <ac:spMkLst>
            <pc:docMk/>
            <pc:sldMk cId="2507235670" sldId="259"/>
            <ac:spMk id="65" creationId="{52BDAF90-91A0-4DA8-A736-D6BF0EEED965}"/>
          </ac:spMkLst>
        </pc:spChg>
        <pc:spChg chg="mod topLvl">
          <ac:chgData name="Ettore Minelli" userId="7870a1ad-01cf-4239-8cce-750deae7f4ef" providerId="ADAL" clId="{0FDC7236-0C66-43F6-99AF-1100E6B9ED67}" dt="2022-10-26T08:29:40.108" v="987" actId="164"/>
          <ac:spMkLst>
            <pc:docMk/>
            <pc:sldMk cId="2507235670" sldId="259"/>
            <ac:spMk id="71" creationId="{47291A3E-C42E-416A-AC02-72AA22E0F0AF}"/>
          </ac:spMkLst>
        </pc:spChg>
        <pc:spChg chg="mod topLvl">
          <ac:chgData name="Ettore Minelli" userId="7870a1ad-01cf-4239-8cce-750deae7f4ef" providerId="ADAL" clId="{0FDC7236-0C66-43F6-99AF-1100E6B9ED67}" dt="2022-10-26T08:29:40.108" v="987" actId="164"/>
          <ac:spMkLst>
            <pc:docMk/>
            <pc:sldMk cId="2507235670" sldId="259"/>
            <ac:spMk id="72" creationId="{7949B976-421B-493E-A6AA-3B038BCADDEA}"/>
          </ac:spMkLst>
        </pc:spChg>
        <pc:spChg chg="add mod">
          <ac:chgData name="Ettore Minelli" userId="7870a1ad-01cf-4239-8cce-750deae7f4ef" providerId="ADAL" clId="{0FDC7236-0C66-43F6-99AF-1100E6B9ED67}" dt="2022-10-26T08:29:40.108" v="987" actId="164"/>
          <ac:spMkLst>
            <pc:docMk/>
            <pc:sldMk cId="2507235670" sldId="259"/>
            <ac:spMk id="73" creationId="{232E9D8E-A789-4EF8-AE3B-C5C85D111127}"/>
          </ac:spMkLst>
        </pc:spChg>
        <pc:grpChg chg="add del mod">
          <ac:chgData name="Ettore Minelli" userId="7870a1ad-01cf-4239-8cce-750deae7f4ef" providerId="ADAL" clId="{0FDC7236-0C66-43F6-99AF-1100E6B9ED67}" dt="2022-10-25T16:18:00.859" v="866" actId="165"/>
          <ac:grpSpMkLst>
            <pc:docMk/>
            <pc:sldMk cId="2507235670" sldId="259"/>
            <ac:grpSpMk id="8" creationId="{0566A871-F23C-4984-8ADC-185446AFB955}"/>
          </ac:grpSpMkLst>
        </pc:grpChg>
        <pc:grpChg chg="add mod">
          <ac:chgData name="Ettore Minelli" userId="7870a1ad-01cf-4239-8cce-750deae7f4ef" providerId="ADAL" clId="{0FDC7236-0C66-43F6-99AF-1100E6B9ED67}" dt="2022-10-26T07:53:06.286" v="905" actId="164"/>
          <ac:grpSpMkLst>
            <pc:docMk/>
            <pc:sldMk cId="2507235670" sldId="259"/>
            <ac:grpSpMk id="8" creationId="{6D4E1DA9-6FFC-4CB0-AAED-80FBE6158243}"/>
          </ac:grpSpMkLst>
        </pc:grpChg>
        <pc:grpChg chg="add mod">
          <ac:chgData name="Ettore Minelli" userId="7870a1ad-01cf-4239-8cce-750deae7f4ef" providerId="ADAL" clId="{0FDC7236-0C66-43F6-99AF-1100E6B9ED67}" dt="2022-10-26T08:28:08.154" v="957" actId="1076"/>
          <ac:grpSpMkLst>
            <pc:docMk/>
            <pc:sldMk cId="2507235670" sldId="259"/>
            <ac:grpSpMk id="12" creationId="{8E803B02-97D2-484E-B945-BD93521E6EAB}"/>
          </ac:grpSpMkLst>
        </pc:grpChg>
        <pc:grpChg chg="add del mod">
          <ac:chgData name="Ettore Minelli" userId="7870a1ad-01cf-4239-8cce-750deae7f4ef" providerId="ADAL" clId="{0FDC7236-0C66-43F6-99AF-1100E6B9ED67}" dt="2022-10-26T07:51:40.802" v="882" actId="165"/>
          <ac:grpSpMkLst>
            <pc:docMk/>
            <pc:sldMk cId="2507235670" sldId="259"/>
            <ac:grpSpMk id="14" creationId="{281B9B55-86A8-48F7-B28B-92D1F4E799F0}"/>
          </ac:grpSpMkLst>
        </pc:grpChg>
        <pc:grpChg chg="del mod topLvl">
          <ac:chgData name="Ettore Minelli" userId="7870a1ad-01cf-4239-8cce-750deae7f4ef" providerId="ADAL" clId="{0FDC7236-0C66-43F6-99AF-1100E6B9ED67}" dt="2022-10-25T16:16:25.091" v="803" actId="165"/>
          <ac:grpSpMkLst>
            <pc:docMk/>
            <pc:sldMk cId="2507235670" sldId="259"/>
            <ac:grpSpMk id="25" creationId="{19B62E81-D490-49C4-A491-C92CD4C7AC36}"/>
          </ac:grpSpMkLst>
        </pc:grpChg>
        <pc:grpChg chg="add mod">
          <ac:chgData name="Ettore Minelli" userId="7870a1ad-01cf-4239-8cce-750deae7f4ef" providerId="ADAL" clId="{0FDC7236-0C66-43F6-99AF-1100E6B9ED67}" dt="2022-10-26T08:28:09.905" v="958" actId="1076"/>
          <ac:grpSpMkLst>
            <pc:docMk/>
            <pc:sldMk cId="2507235670" sldId="259"/>
            <ac:grpSpMk id="31" creationId="{73EE7D48-0481-4688-BDB0-1263503742C5}"/>
          </ac:grpSpMkLst>
        </pc:grpChg>
        <pc:grpChg chg="add del mod">
          <ac:chgData name="Ettore Minelli" userId="7870a1ad-01cf-4239-8cce-750deae7f4ef" providerId="ADAL" clId="{0FDC7236-0C66-43F6-99AF-1100E6B9ED67}" dt="2022-10-26T08:00:45.005" v="908" actId="165"/>
          <ac:grpSpMkLst>
            <pc:docMk/>
            <pc:sldMk cId="2507235670" sldId="259"/>
            <ac:grpSpMk id="32" creationId="{060955B8-016D-4C1E-ADC9-7FB1926CA88A}"/>
          </ac:grpSpMkLst>
        </pc:grpChg>
        <pc:grpChg chg="del mod topLvl">
          <ac:chgData name="Ettore Minelli" userId="7870a1ad-01cf-4239-8cce-750deae7f4ef" providerId="ADAL" clId="{0FDC7236-0C66-43F6-99AF-1100E6B9ED67}" dt="2022-10-25T16:16:20.983" v="802" actId="478"/>
          <ac:grpSpMkLst>
            <pc:docMk/>
            <pc:sldMk cId="2507235670" sldId="259"/>
            <ac:grpSpMk id="43" creationId="{C1946FF2-0880-4BF3-9B58-984FBC758D1B}"/>
          </ac:grpSpMkLst>
        </pc:grpChg>
        <pc:grpChg chg="del">
          <ac:chgData name="Ettore Minelli" userId="7870a1ad-01cf-4239-8cce-750deae7f4ef" providerId="ADAL" clId="{0FDC7236-0C66-43F6-99AF-1100E6B9ED67}" dt="2022-10-25T16:16:18.302" v="801" actId="165"/>
          <ac:grpSpMkLst>
            <pc:docMk/>
            <pc:sldMk cId="2507235670" sldId="259"/>
            <ac:grpSpMk id="44" creationId="{14FBF542-9DD1-4FA5-B296-90A64B7B8275}"/>
          </ac:grpSpMkLst>
        </pc:grpChg>
        <pc:grpChg chg="add del mod">
          <ac:chgData name="Ettore Minelli" userId="7870a1ad-01cf-4239-8cce-750deae7f4ef" providerId="ADAL" clId="{0FDC7236-0C66-43F6-99AF-1100E6B9ED67}" dt="2022-10-26T08:17:57.116" v="938" actId="165"/>
          <ac:grpSpMkLst>
            <pc:docMk/>
            <pc:sldMk cId="2507235670" sldId="259"/>
            <ac:grpSpMk id="48" creationId="{4FB6C263-95CC-4673-9849-7F4D21B3D75D}"/>
          </ac:grpSpMkLst>
        </pc:grpChg>
        <pc:grpChg chg="add mod">
          <ac:chgData name="Ettore Minelli" userId="7870a1ad-01cf-4239-8cce-750deae7f4ef" providerId="ADAL" clId="{0FDC7236-0C66-43F6-99AF-1100E6B9ED67}" dt="2022-10-26T08:18:29.616" v="950" actId="164"/>
          <ac:grpSpMkLst>
            <pc:docMk/>
            <pc:sldMk cId="2507235670" sldId="259"/>
            <ac:grpSpMk id="59" creationId="{5AE56D6F-ACC8-4364-97F5-7EDB25AE48BC}"/>
          </ac:grpSpMkLst>
        </pc:grpChg>
        <pc:grpChg chg="add mod">
          <ac:chgData name="Ettore Minelli" userId="7870a1ad-01cf-4239-8cce-750deae7f4ef" providerId="ADAL" clId="{0FDC7236-0C66-43F6-99AF-1100E6B9ED67}" dt="2022-10-26T08:26:08.303" v="952" actId="1076"/>
          <ac:grpSpMkLst>
            <pc:docMk/>
            <pc:sldMk cId="2507235670" sldId="259"/>
            <ac:grpSpMk id="60" creationId="{348FD954-8134-4D8A-8AA1-4CC131915E32}"/>
          </ac:grpSpMkLst>
        </pc:grpChg>
        <pc:grpChg chg="add del mod">
          <ac:chgData name="Ettore Minelli" userId="7870a1ad-01cf-4239-8cce-750deae7f4ef" providerId="ADAL" clId="{0FDC7236-0C66-43F6-99AF-1100E6B9ED67}" dt="2022-10-26T08:28:16.588" v="960" actId="165"/>
          <ac:grpSpMkLst>
            <pc:docMk/>
            <pc:sldMk cId="2507235670" sldId="259"/>
            <ac:grpSpMk id="67" creationId="{D52F3D32-7FB0-4CB7-AD49-811D46EF7E65}"/>
          </ac:grpSpMkLst>
        </pc:grpChg>
        <pc:grpChg chg="add mod">
          <ac:chgData name="Ettore Minelli" userId="7870a1ad-01cf-4239-8cce-750deae7f4ef" providerId="ADAL" clId="{0FDC7236-0C66-43F6-99AF-1100E6B9ED67}" dt="2022-10-26T08:29:40.108" v="987" actId="164"/>
          <ac:grpSpMkLst>
            <pc:docMk/>
            <pc:sldMk cId="2507235670" sldId="259"/>
            <ac:grpSpMk id="86" creationId="{CE159E72-F203-4663-81D1-C1F998778063}"/>
          </ac:grpSpMkLst>
        </pc:grpChg>
        <pc:cxnChg chg="add mod">
          <ac:chgData name="Ettore Minelli" userId="7870a1ad-01cf-4239-8cce-750deae7f4ef" providerId="ADAL" clId="{0FDC7236-0C66-43F6-99AF-1100E6B9ED67}" dt="2022-10-26T07:53:06.286" v="905" actId="164"/>
          <ac:cxnSpMkLst>
            <pc:docMk/>
            <pc:sldMk cId="2507235670" sldId="259"/>
            <ac:cxnSpMk id="4" creationId="{3EC71287-1716-45EE-B106-E9204B98193A}"/>
          </ac:cxnSpMkLst>
        </pc:cxnChg>
        <pc:cxnChg chg="mod topLvl">
          <ac:chgData name="Ettore Minelli" userId="7870a1ad-01cf-4239-8cce-750deae7f4ef" providerId="ADAL" clId="{0FDC7236-0C66-43F6-99AF-1100E6B9ED67}" dt="2022-10-25T16:18:26.925" v="878" actId="164"/>
          <ac:cxnSpMkLst>
            <pc:docMk/>
            <pc:sldMk cId="2507235670" sldId="259"/>
            <ac:cxnSpMk id="5" creationId="{78A97FFE-7301-40FD-9061-75D141FB2FD7}"/>
          </ac:cxnSpMkLst>
        </pc:cxnChg>
        <pc:cxnChg chg="add mod topLvl">
          <ac:chgData name="Ettore Minelli" userId="7870a1ad-01cf-4239-8cce-750deae7f4ef" providerId="ADAL" clId="{0FDC7236-0C66-43F6-99AF-1100E6B9ED67}" dt="2022-10-25T16:18:26.925" v="878" actId="164"/>
          <ac:cxnSpMkLst>
            <pc:docMk/>
            <pc:sldMk cId="2507235670" sldId="259"/>
            <ac:cxnSpMk id="6" creationId="{6B8242DC-8515-41E5-A260-A5318E51CA99}"/>
          </ac:cxnSpMkLst>
        </pc:cxnChg>
        <pc:cxnChg chg="mod topLvl">
          <ac:chgData name="Ettore Minelli" userId="7870a1ad-01cf-4239-8cce-750deae7f4ef" providerId="ADAL" clId="{0FDC7236-0C66-43F6-99AF-1100E6B9ED67}" dt="2022-10-25T16:18:26.925" v="878" actId="164"/>
          <ac:cxnSpMkLst>
            <pc:docMk/>
            <pc:sldMk cId="2507235670" sldId="259"/>
            <ac:cxnSpMk id="7" creationId="{FB62A651-8EB5-4ED6-8BF3-43D388066339}"/>
          </ac:cxnSpMkLst>
        </pc:cxnChg>
        <pc:cxnChg chg="mod topLvl">
          <ac:chgData name="Ettore Minelli" userId="7870a1ad-01cf-4239-8cce-750deae7f4ef" providerId="ADAL" clId="{0FDC7236-0C66-43F6-99AF-1100E6B9ED67}" dt="2022-10-25T16:18:26.925" v="878" actId="164"/>
          <ac:cxnSpMkLst>
            <pc:docMk/>
            <pc:sldMk cId="2507235670" sldId="259"/>
            <ac:cxnSpMk id="9" creationId="{7CA132FA-1937-4C93-BEA6-95D06B5A6D52}"/>
          </ac:cxnSpMkLst>
        </pc:cxnChg>
        <pc:cxnChg chg="del mod topLvl">
          <ac:chgData name="Ettore Minelli" userId="7870a1ad-01cf-4239-8cce-750deae7f4ef" providerId="ADAL" clId="{0FDC7236-0C66-43F6-99AF-1100E6B9ED67}" dt="2022-10-25T16:16:29.009" v="807" actId="478"/>
          <ac:cxnSpMkLst>
            <pc:docMk/>
            <pc:sldMk cId="2507235670" sldId="259"/>
            <ac:cxnSpMk id="13" creationId="{A5AAE5BF-BC75-4AB8-9C70-7CADB6658783}"/>
          </ac:cxnSpMkLst>
        </pc:cxnChg>
        <pc:cxnChg chg="del mod topLvl">
          <ac:chgData name="Ettore Minelli" userId="7870a1ad-01cf-4239-8cce-750deae7f4ef" providerId="ADAL" clId="{0FDC7236-0C66-43F6-99AF-1100E6B9ED67}" dt="2022-10-25T16:16:28.479" v="806" actId="478"/>
          <ac:cxnSpMkLst>
            <pc:docMk/>
            <pc:sldMk cId="2507235670" sldId="259"/>
            <ac:cxnSpMk id="14" creationId="{54B4789A-D5AA-4628-AFBC-30EB4E2BBDD2}"/>
          </ac:cxnSpMkLst>
        </pc:cxnChg>
        <pc:cxnChg chg="mod topLvl">
          <ac:chgData name="Ettore Minelli" userId="7870a1ad-01cf-4239-8cce-750deae7f4ef" providerId="ADAL" clId="{0FDC7236-0C66-43F6-99AF-1100E6B9ED67}" dt="2022-10-26T07:53:06.286" v="905" actId="164"/>
          <ac:cxnSpMkLst>
            <pc:docMk/>
            <pc:sldMk cId="2507235670" sldId="259"/>
            <ac:cxnSpMk id="15" creationId="{F7D47715-0A63-437A-AD4C-3F1A38733216}"/>
          </ac:cxnSpMkLst>
        </pc:cxnChg>
        <pc:cxnChg chg="mod topLvl">
          <ac:chgData name="Ettore Minelli" userId="7870a1ad-01cf-4239-8cce-750deae7f4ef" providerId="ADAL" clId="{0FDC7236-0C66-43F6-99AF-1100E6B9ED67}" dt="2022-10-26T07:53:06.286" v="905" actId="164"/>
          <ac:cxnSpMkLst>
            <pc:docMk/>
            <pc:sldMk cId="2507235670" sldId="259"/>
            <ac:cxnSpMk id="16" creationId="{9877156A-E90D-41F2-A16F-2963C5617242}"/>
          </ac:cxnSpMkLst>
        </pc:cxnChg>
        <pc:cxnChg chg="mod topLvl">
          <ac:chgData name="Ettore Minelli" userId="7870a1ad-01cf-4239-8cce-750deae7f4ef" providerId="ADAL" clId="{0FDC7236-0C66-43F6-99AF-1100E6B9ED67}" dt="2022-10-26T07:53:06.286" v="905" actId="164"/>
          <ac:cxnSpMkLst>
            <pc:docMk/>
            <pc:sldMk cId="2507235670" sldId="259"/>
            <ac:cxnSpMk id="17" creationId="{E091E6BE-1737-4BA6-87AF-94DD422A608E}"/>
          </ac:cxnSpMkLst>
        </pc:cxnChg>
        <pc:cxnChg chg="del mod topLvl">
          <ac:chgData name="Ettore Minelli" userId="7870a1ad-01cf-4239-8cce-750deae7f4ef" providerId="ADAL" clId="{0FDC7236-0C66-43F6-99AF-1100E6B9ED67}" dt="2022-10-25T16:16:27.441" v="805" actId="478"/>
          <ac:cxnSpMkLst>
            <pc:docMk/>
            <pc:sldMk cId="2507235670" sldId="259"/>
            <ac:cxnSpMk id="18" creationId="{53C0BEB7-D998-4FEE-A334-0A594DA30631}"/>
          </ac:cxnSpMkLst>
        </pc:cxnChg>
        <pc:cxnChg chg="del mod topLvl">
          <ac:chgData name="Ettore Minelli" userId="7870a1ad-01cf-4239-8cce-750deae7f4ef" providerId="ADAL" clId="{0FDC7236-0C66-43F6-99AF-1100E6B9ED67}" dt="2022-10-25T16:16:26.768" v="804" actId="478"/>
          <ac:cxnSpMkLst>
            <pc:docMk/>
            <pc:sldMk cId="2507235670" sldId="259"/>
            <ac:cxnSpMk id="20" creationId="{ADD5DCE6-263A-4F16-8A32-2A99D2DB2D80}"/>
          </ac:cxnSpMkLst>
        </pc:cxnChg>
        <pc:cxnChg chg="del mod topLvl">
          <ac:chgData name="Ettore Minelli" userId="7870a1ad-01cf-4239-8cce-750deae7f4ef" providerId="ADAL" clId="{0FDC7236-0C66-43F6-99AF-1100E6B9ED67}" dt="2022-10-26T07:51:49.703" v="884" actId="478"/>
          <ac:cxnSpMkLst>
            <pc:docMk/>
            <pc:sldMk cId="2507235670" sldId="259"/>
            <ac:cxnSpMk id="26" creationId="{DF42F29D-8FD1-4301-B7D8-A8C73815324A}"/>
          </ac:cxnSpMkLst>
        </pc:cxnChg>
        <pc:cxnChg chg="del mod topLvl">
          <ac:chgData name="Ettore Minelli" userId="7870a1ad-01cf-4239-8cce-750deae7f4ef" providerId="ADAL" clId="{0FDC7236-0C66-43F6-99AF-1100E6B9ED67}" dt="2022-10-26T07:51:48.852" v="883" actId="478"/>
          <ac:cxnSpMkLst>
            <pc:docMk/>
            <pc:sldMk cId="2507235670" sldId="259"/>
            <ac:cxnSpMk id="27" creationId="{B38EE3BC-895E-43EA-A797-71991D343636}"/>
          </ac:cxnSpMkLst>
        </pc:cxnChg>
        <pc:cxnChg chg="mod">
          <ac:chgData name="Ettore Minelli" userId="7870a1ad-01cf-4239-8cce-750deae7f4ef" providerId="ADAL" clId="{0FDC7236-0C66-43F6-99AF-1100E6B9ED67}" dt="2022-10-25T16:16:18.302" v="801" actId="165"/>
          <ac:cxnSpMkLst>
            <pc:docMk/>
            <pc:sldMk cId="2507235670" sldId="259"/>
            <ac:cxnSpMk id="27" creationId="{EBCFD897-D70A-4CAE-8FBA-0E37122D79F1}"/>
          </ac:cxnSpMkLst>
        </pc:cxnChg>
        <pc:cxnChg chg="mod">
          <ac:chgData name="Ettore Minelli" userId="7870a1ad-01cf-4239-8cce-750deae7f4ef" providerId="ADAL" clId="{0FDC7236-0C66-43F6-99AF-1100E6B9ED67}" dt="2022-10-25T16:16:18.302" v="801" actId="165"/>
          <ac:cxnSpMkLst>
            <pc:docMk/>
            <pc:sldMk cId="2507235670" sldId="259"/>
            <ac:cxnSpMk id="28" creationId="{D825E39A-B49C-4629-ACCA-89F599559547}"/>
          </ac:cxnSpMkLst>
        </pc:cxnChg>
        <pc:cxnChg chg="mod">
          <ac:chgData name="Ettore Minelli" userId="7870a1ad-01cf-4239-8cce-750deae7f4ef" providerId="ADAL" clId="{0FDC7236-0C66-43F6-99AF-1100E6B9ED67}" dt="2022-10-25T16:16:18.302" v="801" actId="165"/>
          <ac:cxnSpMkLst>
            <pc:docMk/>
            <pc:sldMk cId="2507235670" sldId="259"/>
            <ac:cxnSpMk id="29" creationId="{A5F7EBDC-4652-456F-A8CA-69AA9A53B2C5}"/>
          </ac:cxnSpMkLst>
        </pc:cxnChg>
        <pc:cxnChg chg="add mod">
          <ac:chgData name="Ettore Minelli" userId="7870a1ad-01cf-4239-8cce-750deae7f4ef" providerId="ADAL" clId="{0FDC7236-0C66-43F6-99AF-1100E6B9ED67}" dt="2022-10-26T07:53:06.286" v="905" actId="164"/>
          <ac:cxnSpMkLst>
            <pc:docMk/>
            <pc:sldMk cId="2507235670" sldId="259"/>
            <ac:cxnSpMk id="30" creationId="{627C4F3D-D675-45F3-9AFD-CCA34C6AB7C8}"/>
          </ac:cxnSpMkLst>
        </pc:cxnChg>
        <pc:cxnChg chg="mod">
          <ac:chgData name="Ettore Minelli" userId="7870a1ad-01cf-4239-8cce-750deae7f4ef" providerId="ADAL" clId="{0FDC7236-0C66-43F6-99AF-1100E6B9ED67}" dt="2022-10-25T16:16:18.302" v="801" actId="165"/>
          <ac:cxnSpMkLst>
            <pc:docMk/>
            <pc:sldMk cId="2507235670" sldId="259"/>
            <ac:cxnSpMk id="32" creationId="{AF85BDF4-9774-4EDE-9358-D809914EE798}"/>
          </ac:cxnSpMkLst>
        </pc:cxnChg>
        <pc:cxnChg chg="mod">
          <ac:chgData name="Ettore Minelli" userId="7870a1ad-01cf-4239-8cce-750deae7f4ef" providerId="ADAL" clId="{0FDC7236-0C66-43F6-99AF-1100E6B9ED67}" dt="2022-10-25T16:16:18.302" v="801" actId="165"/>
          <ac:cxnSpMkLst>
            <pc:docMk/>
            <pc:sldMk cId="2507235670" sldId="259"/>
            <ac:cxnSpMk id="33" creationId="{BB6DB408-DD4A-46FF-9858-85CB0A5CDD33}"/>
          </ac:cxnSpMkLst>
        </pc:cxnChg>
        <pc:cxnChg chg="mod topLvl">
          <ac:chgData name="Ettore Minelli" userId="7870a1ad-01cf-4239-8cce-750deae7f4ef" providerId="ADAL" clId="{0FDC7236-0C66-43F6-99AF-1100E6B9ED67}" dt="2022-10-26T08:01:46.785" v="935" actId="164"/>
          <ac:cxnSpMkLst>
            <pc:docMk/>
            <pc:sldMk cId="2507235670" sldId="259"/>
            <ac:cxnSpMk id="33" creationId="{CBA13EA8-9A65-4073-BF20-72909B235F02}"/>
          </ac:cxnSpMkLst>
        </pc:cxnChg>
        <pc:cxnChg chg="mod">
          <ac:chgData name="Ettore Minelli" userId="7870a1ad-01cf-4239-8cce-750deae7f4ef" providerId="ADAL" clId="{0FDC7236-0C66-43F6-99AF-1100E6B9ED67}" dt="2022-10-25T16:16:18.302" v="801" actId="165"/>
          <ac:cxnSpMkLst>
            <pc:docMk/>
            <pc:sldMk cId="2507235670" sldId="259"/>
            <ac:cxnSpMk id="34" creationId="{FCF1616B-386F-4CF2-BBE0-7E6EA14BA26F}"/>
          </ac:cxnSpMkLst>
        </pc:cxnChg>
        <pc:cxnChg chg="mod topLvl">
          <ac:chgData name="Ettore Minelli" userId="7870a1ad-01cf-4239-8cce-750deae7f4ef" providerId="ADAL" clId="{0FDC7236-0C66-43F6-99AF-1100E6B9ED67}" dt="2022-10-26T08:01:46.785" v="935" actId="164"/>
          <ac:cxnSpMkLst>
            <pc:docMk/>
            <pc:sldMk cId="2507235670" sldId="259"/>
            <ac:cxnSpMk id="34" creationId="{FDD6A488-0BFC-4272-A1DF-1B1BAAE57A13}"/>
          </ac:cxnSpMkLst>
        </pc:cxnChg>
        <pc:cxnChg chg="mod">
          <ac:chgData name="Ettore Minelli" userId="7870a1ad-01cf-4239-8cce-750deae7f4ef" providerId="ADAL" clId="{0FDC7236-0C66-43F6-99AF-1100E6B9ED67}" dt="2022-10-25T16:16:18.302" v="801" actId="165"/>
          <ac:cxnSpMkLst>
            <pc:docMk/>
            <pc:sldMk cId="2507235670" sldId="259"/>
            <ac:cxnSpMk id="35" creationId="{AE5F7616-607D-4827-9518-A0F841D7C30B}"/>
          </ac:cxnSpMkLst>
        </pc:cxnChg>
        <pc:cxnChg chg="mod topLvl">
          <ac:chgData name="Ettore Minelli" userId="7870a1ad-01cf-4239-8cce-750deae7f4ef" providerId="ADAL" clId="{0FDC7236-0C66-43F6-99AF-1100E6B9ED67}" dt="2022-10-26T08:01:46.785" v="935" actId="164"/>
          <ac:cxnSpMkLst>
            <pc:docMk/>
            <pc:sldMk cId="2507235670" sldId="259"/>
            <ac:cxnSpMk id="35" creationId="{DF5176E8-5FA1-44AC-86C5-2058142D2356}"/>
          </ac:cxnSpMkLst>
        </pc:cxnChg>
        <pc:cxnChg chg="add mod topLvl">
          <ac:chgData name="Ettore Minelli" userId="7870a1ad-01cf-4239-8cce-750deae7f4ef" providerId="ADAL" clId="{0FDC7236-0C66-43F6-99AF-1100E6B9ED67}" dt="2022-10-25T16:18:26.925" v="878" actId="164"/>
          <ac:cxnSpMkLst>
            <pc:docMk/>
            <pc:sldMk cId="2507235670" sldId="259"/>
            <ac:cxnSpMk id="40" creationId="{2EDB7434-1CD6-48DA-83C6-159C7F76ED5B}"/>
          </ac:cxnSpMkLst>
        </pc:cxnChg>
        <pc:cxnChg chg="del mod topLvl">
          <ac:chgData name="Ettore Minelli" userId="7870a1ad-01cf-4239-8cce-750deae7f4ef" providerId="ADAL" clId="{0FDC7236-0C66-43F6-99AF-1100E6B9ED67}" dt="2022-10-26T08:00:49.880" v="912" actId="478"/>
          <ac:cxnSpMkLst>
            <pc:docMk/>
            <pc:sldMk cId="2507235670" sldId="259"/>
            <ac:cxnSpMk id="44" creationId="{26F1DEC4-9FD3-414D-B0DA-6633B52C0000}"/>
          </ac:cxnSpMkLst>
        </pc:cxnChg>
        <pc:cxnChg chg="del mod topLvl">
          <ac:chgData name="Ettore Minelli" userId="7870a1ad-01cf-4239-8cce-750deae7f4ef" providerId="ADAL" clId="{0FDC7236-0C66-43F6-99AF-1100E6B9ED67}" dt="2022-10-26T08:00:50.416" v="913" actId="478"/>
          <ac:cxnSpMkLst>
            <pc:docMk/>
            <pc:sldMk cId="2507235670" sldId="259"/>
            <ac:cxnSpMk id="45" creationId="{0DA4DB1E-7C56-41EB-BE39-CC310167CF9E}"/>
          </ac:cxnSpMkLst>
        </pc:cxnChg>
        <pc:cxnChg chg="add mod">
          <ac:chgData name="Ettore Minelli" userId="7870a1ad-01cf-4239-8cce-750deae7f4ef" providerId="ADAL" clId="{0FDC7236-0C66-43F6-99AF-1100E6B9ED67}" dt="2022-10-26T08:01:46.785" v="935" actId="164"/>
          <ac:cxnSpMkLst>
            <pc:docMk/>
            <pc:sldMk cId="2507235670" sldId="259"/>
            <ac:cxnSpMk id="46" creationId="{8B50F058-F397-4839-8410-D192B092054C}"/>
          </ac:cxnSpMkLst>
        </pc:cxnChg>
        <pc:cxnChg chg="mod topLvl">
          <ac:chgData name="Ettore Minelli" userId="7870a1ad-01cf-4239-8cce-750deae7f4ef" providerId="ADAL" clId="{0FDC7236-0C66-43F6-99AF-1100E6B9ED67}" dt="2022-10-26T08:18:29.616" v="950" actId="164"/>
          <ac:cxnSpMkLst>
            <pc:docMk/>
            <pc:sldMk cId="2507235670" sldId="259"/>
            <ac:cxnSpMk id="49" creationId="{74EF8E3B-3B6A-4BAF-B369-8375BB09432C}"/>
          </ac:cxnSpMkLst>
        </pc:cxnChg>
        <pc:cxnChg chg="mod topLvl">
          <ac:chgData name="Ettore Minelli" userId="7870a1ad-01cf-4239-8cce-750deae7f4ef" providerId="ADAL" clId="{0FDC7236-0C66-43F6-99AF-1100E6B9ED67}" dt="2022-10-26T08:18:29.616" v="950" actId="164"/>
          <ac:cxnSpMkLst>
            <pc:docMk/>
            <pc:sldMk cId="2507235670" sldId="259"/>
            <ac:cxnSpMk id="50" creationId="{F83760B2-E326-4F43-8C2D-1F8157B6A1DC}"/>
          </ac:cxnSpMkLst>
        </pc:cxnChg>
        <pc:cxnChg chg="mod topLvl">
          <ac:chgData name="Ettore Minelli" userId="7870a1ad-01cf-4239-8cce-750deae7f4ef" providerId="ADAL" clId="{0FDC7236-0C66-43F6-99AF-1100E6B9ED67}" dt="2022-10-26T08:18:29.616" v="950" actId="164"/>
          <ac:cxnSpMkLst>
            <pc:docMk/>
            <pc:sldMk cId="2507235670" sldId="259"/>
            <ac:cxnSpMk id="51" creationId="{2097110C-63B9-4815-B11F-B809297428C1}"/>
          </ac:cxnSpMkLst>
        </pc:cxnChg>
        <pc:cxnChg chg="del mod topLvl">
          <ac:chgData name="Ettore Minelli" userId="7870a1ad-01cf-4239-8cce-750deae7f4ef" providerId="ADAL" clId="{0FDC7236-0C66-43F6-99AF-1100E6B9ED67}" dt="2022-10-26T08:17:59.665" v="939" actId="478"/>
          <ac:cxnSpMkLst>
            <pc:docMk/>
            <pc:sldMk cId="2507235670" sldId="259"/>
            <ac:cxnSpMk id="55" creationId="{6B6D07AF-7380-4396-9E90-7CCFBDD5E3D5}"/>
          </ac:cxnSpMkLst>
        </pc:cxnChg>
        <pc:cxnChg chg="mod">
          <ac:chgData name="Ettore Minelli" userId="7870a1ad-01cf-4239-8cce-750deae7f4ef" providerId="ADAL" clId="{0FDC7236-0C66-43F6-99AF-1100E6B9ED67}" dt="2022-10-26T08:26:06.570" v="951"/>
          <ac:cxnSpMkLst>
            <pc:docMk/>
            <pc:sldMk cId="2507235670" sldId="259"/>
            <ac:cxnSpMk id="61" creationId="{DBFF8484-0399-42E8-B74F-AF449B18B9B1}"/>
          </ac:cxnSpMkLst>
        </pc:cxnChg>
        <pc:cxnChg chg="mod">
          <ac:chgData name="Ettore Minelli" userId="7870a1ad-01cf-4239-8cce-750deae7f4ef" providerId="ADAL" clId="{0FDC7236-0C66-43F6-99AF-1100E6B9ED67}" dt="2022-10-26T08:26:06.570" v="951"/>
          <ac:cxnSpMkLst>
            <pc:docMk/>
            <pc:sldMk cId="2507235670" sldId="259"/>
            <ac:cxnSpMk id="62" creationId="{B4D52478-2B25-4FE6-A745-C9822128127D}"/>
          </ac:cxnSpMkLst>
        </pc:cxnChg>
        <pc:cxnChg chg="mod">
          <ac:chgData name="Ettore Minelli" userId="7870a1ad-01cf-4239-8cce-750deae7f4ef" providerId="ADAL" clId="{0FDC7236-0C66-43F6-99AF-1100E6B9ED67}" dt="2022-10-26T08:26:15.937" v="954" actId="1076"/>
          <ac:cxnSpMkLst>
            <pc:docMk/>
            <pc:sldMk cId="2507235670" sldId="259"/>
            <ac:cxnSpMk id="63" creationId="{541384B3-B8A9-432E-99FA-388EB2FFCE72}"/>
          </ac:cxnSpMkLst>
        </pc:cxnChg>
        <pc:cxnChg chg="mod topLvl">
          <ac:chgData name="Ettore Minelli" userId="7870a1ad-01cf-4239-8cce-750deae7f4ef" providerId="ADAL" clId="{0FDC7236-0C66-43F6-99AF-1100E6B9ED67}" dt="2022-10-26T08:29:40.108" v="987" actId="164"/>
          <ac:cxnSpMkLst>
            <pc:docMk/>
            <pc:sldMk cId="2507235670" sldId="259"/>
            <ac:cxnSpMk id="68" creationId="{2AE3F757-0501-499E-A551-116596C5793D}"/>
          </ac:cxnSpMkLst>
        </pc:cxnChg>
        <pc:cxnChg chg="mod topLvl">
          <ac:chgData name="Ettore Minelli" userId="7870a1ad-01cf-4239-8cce-750deae7f4ef" providerId="ADAL" clId="{0FDC7236-0C66-43F6-99AF-1100E6B9ED67}" dt="2022-10-26T08:29:40.108" v="987" actId="164"/>
          <ac:cxnSpMkLst>
            <pc:docMk/>
            <pc:sldMk cId="2507235670" sldId="259"/>
            <ac:cxnSpMk id="69" creationId="{7342F225-25EF-44B9-92DD-3C1F7197F647}"/>
          </ac:cxnSpMkLst>
        </pc:cxnChg>
        <pc:cxnChg chg="mod topLvl">
          <ac:chgData name="Ettore Minelli" userId="7870a1ad-01cf-4239-8cce-750deae7f4ef" providerId="ADAL" clId="{0FDC7236-0C66-43F6-99AF-1100E6B9ED67}" dt="2022-10-26T08:29:40.108" v="987" actId="164"/>
          <ac:cxnSpMkLst>
            <pc:docMk/>
            <pc:sldMk cId="2507235670" sldId="259"/>
            <ac:cxnSpMk id="70" creationId="{DED25B2F-5979-4BF0-B51E-6997F2DCF36C}"/>
          </ac:cxnSpMkLst>
        </pc:cxnChg>
        <pc:cxnChg chg="add del mod">
          <ac:chgData name="Ettore Minelli" userId="7870a1ad-01cf-4239-8cce-750deae7f4ef" providerId="ADAL" clId="{0FDC7236-0C66-43F6-99AF-1100E6B9ED67}" dt="2022-10-26T08:29:05.438" v="978" actId="478"/>
          <ac:cxnSpMkLst>
            <pc:docMk/>
            <pc:sldMk cId="2507235670" sldId="259"/>
            <ac:cxnSpMk id="75" creationId="{FE284025-1B86-4EBC-B475-EBD99A00A79F}"/>
          </ac:cxnSpMkLst>
        </pc:cxnChg>
        <pc:cxnChg chg="add del mod">
          <ac:chgData name="Ettore Minelli" userId="7870a1ad-01cf-4239-8cce-750deae7f4ef" providerId="ADAL" clId="{0FDC7236-0C66-43F6-99AF-1100E6B9ED67}" dt="2022-10-26T08:29:11.055" v="981" actId="478"/>
          <ac:cxnSpMkLst>
            <pc:docMk/>
            <pc:sldMk cId="2507235670" sldId="259"/>
            <ac:cxnSpMk id="80" creationId="{ABEB0BC1-ABC5-4EF0-9C68-A5DEBFAA36E6}"/>
          </ac:cxnSpMkLst>
        </pc:cxnChg>
        <pc:cxnChg chg="add del">
          <ac:chgData name="Ettore Minelli" userId="7870a1ad-01cf-4239-8cce-750deae7f4ef" providerId="ADAL" clId="{0FDC7236-0C66-43F6-99AF-1100E6B9ED67}" dt="2022-10-26T08:29:19.089" v="983" actId="478"/>
          <ac:cxnSpMkLst>
            <pc:docMk/>
            <pc:sldMk cId="2507235670" sldId="259"/>
            <ac:cxnSpMk id="83" creationId="{A4E5757A-89E5-42DA-B9A3-2D188D65C2AE}"/>
          </ac:cxnSpMkLst>
        </pc:cxnChg>
        <pc:cxnChg chg="add mod">
          <ac:chgData name="Ettore Minelli" userId="7870a1ad-01cf-4239-8cce-750deae7f4ef" providerId="ADAL" clId="{0FDC7236-0C66-43F6-99AF-1100E6B9ED67}" dt="2022-10-26T08:29:40.108" v="987" actId="164"/>
          <ac:cxnSpMkLst>
            <pc:docMk/>
            <pc:sldMk cId="2507235670" sldId="259"/>
            <ac:cxnSpMk id="85" creationId="{79DB1682-0CE5-47E1-85DE-7E489D753031}"/>
          </ac:cxnSpMkLst>
        </pc:cxnChg>
      </pc:sldChg>
      <pc:sldChg chg="addSp delSp modSp new mod">
        <pc:chgData name="Ettore Minelli" userId="7870a1ad-01cf-4239-8cce-750deae7f4ef" providerId="ADAL" clId="{0FDC7236-0C66-43F6-99AF-1100E6B9ED67}" dt="2022-10-26T12:21:59.286" v="1818" actId="164"/>
        <pc:sldMkLst>
          <pc:docMk/>
          <pc:sldMk cId="652284864" sldId="260"/>
        </pc:sldMkLst>
        <pc:spChg chg="mod topLvl">
          <ac:chgData name="Ettore Minelli" userId="7870a1ad-01cf-4239-8cce-750deae7f4ef" providerId="ADAL" clId="{0FDC7236-0C66-43F6-99AF-1100E6B9ED67}" dt="2022-10-26T12:21:54.602" v="1817" actId="165"/>
          <ac:spMkLst>
            <pc:docMk/>
            <pc:sldMk cId="652284864" sldId="260"/>
            <ac:spMk id="6" creationId="{3BB62D09-0DC9-4686-81C6-6714A151375D}"/>
          </ac:spMkLst>
        </pc:spChg>
        <pc:spChg chg="mod topLvl">
          <ac:chgData name="Ettore Minelli" userId="7870a1ad-01cf-4239-8cce-750deae7f4ef" providerId="ADAL" clId="{0FDC7236-0C66-43F6-99AF-1100E6B9ED67}" dt="2022-10-26T12:21:54.602" v="1817" actId="165"/>
          <ac:spMkLst>
            <pc:docMk/>
            <pc:sldMk cId="652284864" sldId="260"/>
            <ac:spMk id="7" creationId="{F53BCCBF-26D0-4183-87FD-DFC52815AFBA}"/>
          </ac:spMkLst>
        </pc:spChg>
        <pc:spChg chg="mod topLvl">
          <ac:chgData name="Ettore Minelli" userId="7870a1ad-01cf-4239-8cce-750deae7f4ef" providerId="ADAL" clId="{0FDC7236-0C66-43F6-99AF-1100E6B9ED67}" dt="2022-10-26T12:21:54.602" v="1817" actId="165"/>
          <ac:spMkLst>
            <pc:docMk/>
            <pc:sldMk cId="652284864" sldId="260"/>
            <ac:spMk id="8" creationId="{03A67DC7-5E71-4176-B4A1-8AE43DF8BD3B}"/>
          </ac:spMkLst>
        </pc:spChg>
        <pc:spChg chg="mod topLvl">
          <ac:chgData name="Ettore Minelli" userId="7870a1ad-01cf-4239-8cce-750deae7f4ef" providerId="ADAL" clId="{0FDC7236-0C66-43F6-99AF-1100E6B9ED67}" dt="2022-10-26T12:21:54.602" v="1817" actId="165"/>
          <ac:spMkLst>
            <pc:docMk/>
            <pc:sldMk cId="652284864" sldId="260"/>
            <ac:spMk id="9" creationId="{9975A1D5-52AE-46CC-8F81-13187B796117}"/>
          </ac:spMkLst>
        </pc:spChg>
        <pc:spChg chg="mod topLvl">
          <ac:chgData name="Ettore Minelli" userId="7870a1ad-01cf-4239-8cce-750deae7f4ef" providerId="ADAL" clId="{0FDC7236-0C66-43F6-99AF-1100E6B9ED67}" dt="2022-10-26T12:21:54.602" v="1817" actId="165"/>
          <ac:spMkLst>
            <pc:docMk/>
            <pc:sldMk cId="652284864" sldId="260"/>
            <ac:spMk id="10" creationId="{6E8477C5-55CE-4BB2-A774-21434C4E052D}"/>
          </ac:spMkLst>
        </pc:spChg>
        <pc:spChg chg="mod topLvl">
          <ac:chgData name="Ettore Minelli" userId="7870a1ad-01cf-4239-8cce-750deae7f4ef" providerId="ADAL" clId="{0FDC7236-0C66-43F6-99AF-1100E6B9ED67}" dt="2022-10-26T12:21:54.602" v="1817" actId="165"/>
          <ac:spMkLst>
            <pc:docMk/>
            <pc:sldMk cId="652284864" sldId="260"/>
            <ac:spMk id="13" creationId="{CD63A497-3EDB-4FDB-9D20-502F9DE048EF}"/>
          </ac:spMkLst>
        </pc:spChg>
        <pc:spChg chg="add mod topLvl">
          <ac:chgData name="Ettore Minelli" userId="7870a1ad-01cf-4239-8cce-750deae7f4ef" providerId="ADAL" clId="{0FDC7236-0C66-43F6-99AF-1100E6B9ED67}" dt="2022-10-26T12:21:54.602" v="1817" actId="165"/>
          <ac:spMkLst>
            <pc:docMk/>
            <pc:sldMk cId="652284864" sldId="260"/>
            <ac:spMk id="18" creationId="{99940B75-89B8-4C37-8FED-C06D16BA25C8}"/>
          </ac:spMkLst>
        </pc:spChg>
        <pc:spChg chg="add mod topLvl">
          <ac:chgData name="Ettore Minelli" userId="7870a1ad-01cf-4239-8cce-750deae7f4ef" providerId="ADAL" clId="{0FDC7236-0C66-43F6-99AF-1100E6B9ED67}" dt="2022-10-26T12:21:54.602" v="1817" actId="165"/>
          <ac:spMkLst>
            <pc:docMk/>
            <pc:sldMk cId="652284864" sldId="260"/>
            <ac:spMk id="19" creationId="{4DAF2265-6C34-48A1-8469-653ECA2816F9}"/>
          </ac:spMkLst>
        </pc:spChg>
        <pc:spChg chg="mod topLvl">
          <ac:chgData name="Ettore Minelli" userId="7870a1ad-01cf-4239-8cce-750deae7f4ef" providerId="ADAL" clId="{0FDC7236-0C66-43F6-99AF-1100E6B9ED67}" dt="2022-10-26T12:21:59.286" v="1818" actId="164"/>
          <ac:spMkLst>
            <pc:docMk/>
            <pc:sldMk cId="652284864" sldId="260"/>
            <ac:spMk id="25" creationId="{EA4ECBA4-D0F8-4A0C-B1AC-B3D5153CC1BC}"/>
          </ac:spMkLst>
        </pc:spChg>
        <pc:spChg chg="mod topLvl">
          <ac:chgData name="Ettore Minelli" userId="7870a1ad-01cf-4239-8cce-750deae7f4ef" providerId="ADAL" clId="{0FDC7236-0C66-43F6-99AF-1100E6B9ED67}" dt="2022-10-26T12:21:59.286" v="1818" actId="164"/>
          <ac:spMkLst>
            <pc:docMk/>
            <pc:sldMk cId="652284864" sldId="260"/>
            <ac:spMk id="26" creationId="{4E50DAF3-4016-459C-AC2B-E43D33754FB3}"/>
          </ac:spMkLst>
        </pc:spChg>
        <pc:spChg chg="mod topLvl">
          <ac:chgData name="Ettore Minelli" userId="7870a1ad-01cf-4239-8cce-750deae7f4ef" providerId="ADAL" clId="{0FDC7236-0C66-43F6-99AF-1100E6B9ED67}" dt="2022-10-26T12:21:59.286" v="1818" actId="164"/>
          <ac:spMkLst>
            <pc:docMk/>
            <pc:sldMk cId="652284864" sldId="260"/>
            <ac:spMk id="27" creationId="{6A0E7A18-3F72-421D-AFA3-0D11C938C2F1}"/>
          </ac:spMkLst>
        </pc:spChg>
        <pc:spChg chg="mod topLvl">
          <ac:chgData name="Ettore Minelli" userId="7870a1ad-01cf-4239-8cce-750deae7f4ef" providerId="ADAL" clId="{0FDC7236-0C66-43F6-99AF-1100E6B9ED67}" dt="2022-10-26T12:21:59.286" v="1818" actId="164"/>
          <ac:spMkLst>
            <pc:docMk/>
            <pc:sldMk cId="652284864" sldId="260"/>
            <ac:spMk id="28" creationId="{7B7DE997-ABB9-4DA5-BFC6-8F69100431B6}"/>
          </ac:spMkLst>
        </pc:spChg>
        <pc:spChg chg="mod topLvl">
          <ac:chgData name="Ettore Minelli" userId="7870a1ad-01cf-4239-8cce-750deae7f4ef" providerId="ADAL" clId="{0FDC7236-0C66-43F6-99AF-1100E6B9ED67}" dt="2022-10-26T12:21:59.286" v="1818" actId="164"/>
          <ac:spMkLst>
            <pc:docMk/>
            <pc:sldMk cId="652284864" sldId="260"/>
            <ac:spMk id="29" creationId="{D2854726-F197-4098-A875-5C98BA34E14D}"/>
          </ac:spMkLst>
        </pc:spChg>
        <pc:spChg chg="mod topLvl">
          <ac:chgData name="Ettore Minelli" userId="7870a1ad-01cf-4239-8cce-750deae7f4ef" providerId="ADAL" clId="{0FDC7236-0C66-43F6-99AF-1100E6B9ED67}" dt="2022-10-26T12:21:59.286" v="1818" actId="164"/>
          <ac:spMkLst>
            <pc:docMk/>
            <pc:sldMk cId="652284864" sldId="260"/>
            <ac:spMk id="32" creationId="{D547890D-F8C4-4FC3-B35F-031CC7593F68}"/>
          </ac:spMkLst>
        </pc:spChg>
        <pc:spChg chg="add mod topLvl">
          <ac:chgData name="Ettore Minelli" userId="7870a1ad-01cf-4239-8cce-750deae7f4ef" providerId="ADAL" clId="{0FDC7236-0C66-43F6-99AF-1100E6B9ED67}" dt="2022-10-26T12:21:59.286" v="1818" actId="164"/>
          <ac:spMkLst>
            <pc:docMk/>
            <pc:sldMk cId="652284864" sldId="260"/>
            <ac:spMk id="41" creationId="{15F0C5FE-7981-43E4-8BBE-04CB806869F7}"/>
          </ac:spMkLst>
        </pc:spChg>
        <pc:spChg chg="add mod topLvl">
          <ac:chgData name="Ettore Minelli" userId="7870a1ad-01cf-4239-8cce-750deae7f4ef" providerId="ADAL" clId="{0FDC7236-0C66-43F6-99AF-1100E6B9ED67}" dt="2022-10-26T12:21:59.286" v="1818" actId="164"/>
          <ac:spMkLst>
            <pc:docMk/>
            <pc:sldMk cId="652284864" sldId="260"/>
            <ac:spMk id="42" creationId="{55C3CFBF-E3E9-429C-A5BB-41F8ECD7B990}"/>
          </ac:spMkLst>
        </pc:spChg>
        <pc:spChg chg="add mod topLvl">
          <ac:chgData name="Ettore Minelli" userId="7870a1ad-01cf-4239-8cce-750deae7f4ef" providerId="ADAL" clId="{0FDC7236-0C66-43F6-99AF-1100E6B9ED67}" dt="2022-10-26T12:21:54.602" v="1817" actId="165"/>
          <ac:spMkLst>
            <pc:docMk/>
            <pc:sldMk cId="652284864" sldId="260"/>
            <ac:spMk id="44" creationId="{1F416D88-E8C0-4008-8557-140F05800C1E}"/>
          </ac:spMkLst>
        </pc:spChg>
        <pc:spChg chg="add mod topLvl">
          <ac:chgData name="Ettore Minelli" userId="7870a1ad-01cf-4239-8cce-750deae7f4ef" providerId="ADAL" clId="{0FDC7236-0C66-43F6-99AF-1100E6B9ED67}" dt="2022-10-26T12:21:59.286" v="1818" actId="164"/>
          <ac:spMkLst>
            <pc:docMk/>
            <pc:sldMk cId="652284864" sldId="260"/>
            <ac:spMk id="45" creationId="{BFFFBB10-4C88-4045-9EE1-6F5C130AE258}"/>
          </ac:spMkLst>
        </pc:spChg>
        <pc:spChg chg="add mod topLvl">
          <ac:chgData name="Ettore Minelli" userId="7870a1ad-01cf-4239-8cce-750deae7f4ef" providerId="ADAL" clId="{0FDC7236-0C66-43F6-99AF-1100E6B9ED67}" dt="2022-10-26T12:21:59.286" v="1818" actId="164"/>
          <ac:spMkLst>
            <pc:docMk/>
            <pc:sldMk cId="652284864" sldId="260"/>
            <ac:spMk id="53" creationId="{C89802BD-EC83-4E8B-BC71-AC76DBAC8C3E}"/>
          </ac:spMkLst>
        </pc:spChg>
        <pc:grpChg chg="add del mod">
          <ac:chgData name="Ettore Minelli" userId="7870a1ad-01cf-4239-8cce-750deae7f4ef" providerId="ADAL" clId="{0FDC7236-0C66-43F6-99AF-1100E6B9ED67}" dt="2022-10-26T08:32:56.258" v="991" actId="165"/>
          <ac:grpSpMkLst>
            <pc:docMk/>
            <pc:sldMk cId="652284864" sldId="260"/>
            <ac:grpSpMk id="2" creationId="{45766421-58C5-4D52-9767-92C4B4B111B6}"/>
          </ac:grpSpMkLst>
        </pc:grpChg>
        <pc:grpChg chg="add mod">
          <ac:chgData name="Ettore Minelli" userId="7870a1ad-01cf-4239-8cce-750deae7f4ef" providerId="ADAL" clId="{0FDC7236-0C66-43F6-99AF-1100E6B9ED67}" dt="2022-10-26T12:21:59.286" v="1818" actId="164"/>
          <ac:grpSpMkLst>
            <pc:docMk/>
            <pc:sldMk cId="652284864" sldId="260"/>
            <ac:grpSpMk id="2" creationId="{5774B00F-046F-4DCA-8604-077ADC34925C}"/>
          </ac:grpSpMkLst>
        </pc:grpChg>
        <pc:grpChg chg="add del mod topLvl">
          <ac:chgData name="Ettore Minelli" userId="7870a1ad-01cf-4239-8cce-750deae7f4ef" providerId="ADAL" clId="{0FDC7236-0C66-43F6-99AF-1100E6B9ED67}" dt="2022-10-26T08:38:33.577" v="1079" actId="165"/>
          <ac:grpSpMkLst>
            <pc:docMk/>
            <pc:sldMk cId="652284864" sldId="260"/>
            <ac:grpSpMk id="20" creationId="{93BF1630-E33C-4520-91B5-EBC84054C171}"/>
          </ac:grpSpMkLst>
        </pc:grpChg>
        <pc:grpChg chg="add del mod">
          <ac:chgData name="Ettore Minelli" userId="7870a1ad-01cf-4239-8cce-750deae7f4ef" providerId="ADAL" clId="{0FDC7236-0C66-43F6-99AF-1100E6B9ED67}" dt="2022-10-26T08:34:40.458" v="1020" actId="165"/>
          <ac:grpSpMkLst>
            <pc:docMk/>
            <pc:sldMk cId="652284864" sldId="260"/>
            <ac:grpSpMk id="21" creationId="{C40F080C-28BE-4919-AB0C-AC370FDBA1CB}"/>
          </ac:grpSpMkLst>
        </pc:grpChg>
        <pc:grpChg chg="add del mod topLvl">
          <ac:chgData name="Ettore Minelli" userId="7870a1ad-01cf-4239-8cce-750deae7f4ef" providerId="ADAL" clId="{0FDC7236-0C66-43F6-99AF-1100E6B9ED67}" dt="2022-10-26T08:38:33.577" v="1079" actId="165"/>
          <ac:grpSpMkLst>
            <pc:docMk/>
            <pc:sldMk cId="652284864" sldId="260"/>
            <ac:grpSpMk id="43" creationId="{E95921B8-1C3E-4855-AEC9-5C519C8FF46F}"/>
          </ac:grpSpMkLst>
        </pc:grpChg>
        <pc:grpChg chg="add del mod">
          <ac:chgData name="Ettore Minelli" userId="7870a1ad-01cf-4239-8cce-750deae7f4ef" providerId="ADAL" clId="{0FDC7236-0C66-43F6-99AF-1100E6B9ED67}" dt="2022-10-26T08:38:28.677" v="1078" actId="165"/>
          <ac:grpSpMkLst>
            <pc:docMk/>
            <pc:sldMk cId="652284864" sldId="260"/>
            <ac:grpSpMk id="46" creationId="{F50A4765-4BCD-46A0-8134-5FD8FA25DE7E}"/>
          </ac:grpSpMkLst>
        </pc:grpChg>
        <pc:grpChg chg="add del mod">
          <ac:chgData name="Ettore Minelli" userId="7870a1ad-01cf-4239-8cce-750deae7f4ef" providerId="ADAL" clId="{0FDC7236-0C66-43F6-99AF-1100E6B9ED67}" dt="2022-10-26T12:21:54.602" v="1817" actId="165"/>
          <ac:grpSpMkLst>
            <pc:docMk/>
            <pc:sldMk cId="652284864" sldId="260"/>
            <ac:grpSpMk id="54" creationId="{DA18A408-DDEE-4D49-B913-4AF510A72799}"/>
          </ac:grpSpMkLst>
        </pc:grpChg>
        <pc:cxnChg chg="mod topLvl">
          <ac:chgData name="Ettore Minelli" userId="7870a1ad-01cf-4239-8cce-750deae7f4ef" providerId="ADAL" clId="{0FDC7236-0C66-43F6-99AF-1100E6B9ED67}" dt="2022-10-26T12:21:54.602" v="1817" actId="165"/>
          <ac:cxnSpMkLst>
            <pc:docMk/>
            <pc:sldMk cId="652284864" sldId="260"/>
            <ac:cxnSpMk id="3" creationId="{AD48CC04-EF3C-4ABE-AFC0-F50C82D13188}"/>
          </ac:cxnSpMkLst>
        </pc:cxnChg>
        <pc:cxnChg chg="mod topLvl">
          <ac:chgData name="Ettore Minelli" userId="7870a1ad-01cf-4239-8cce-750deae7f4ef" providerId="ADAL" clId="{0FDC7236-0C66-43F6-99AF-1100E6B9ED67}" dt="2022-10-26T12:21:54.602" v="1817" actId="165"/>
          <ac:cxnSpMkLst>
            <pc:docMk/>
            <pc:sldMk cId="652284864" sldId="260"/>
            <ac:cxnSpMk id="4" creationId="{7CEC266B-6B82-4DB4-887D-4F61BECCB193}"/>
          </ac:cxnSpMkLst>
        </pc:cxnChg>
        <pc:cxnChg chg="mod topLvl">
          <ac:chgData name="Ettore Minelli" userId="7870a1ad-01cf-4239-8cce-750deae7f4ef" providerId="ADAL" clId="{0FDC7236-0C66-43F6-99AF-1100E6B9ED67}" dt="2022-10-26T12:21:54.602" v="1817" actId="165"/>
          <ac:cxnSpMkLst>
            <pc:docMk/>
            <pc:sldMk cId="652284864" sldId="260"/>
            <ac:cxnSpMk id="5" creationId="{FDF999D2-BDDC-4DFC-A21B-F4942B2306FF}"/>
          </ac:cxnSpMkLst>
        </pc:cxnChg>
        <pc:cxnChg chg="mod topLvl">
          <ac:chgData name="Ettore Minelli" userId="7870a1ad-01cf-4239-8cce-750deae7f4ef" providerId="ADAL" clId="{0FDC7236-0C66-43F6-99AF-1100E6B9ED67}" dt="2022-10-26T12:21:54.602" v="1817" actId="165"/>
          <ac:cxnSpMkLst>
            <pc:docMk/>
            <pc:sldMk cId="652284864" sldId="260"/>
            <ac:cxnSpMk id="11" creationId="{C5BEFC99-B951-44D4-8ECD-66B9E080B6BE}"/>
          </ac:cxnSpMkLst>
        </pc:cxnChg>
        <pc:cxnChg chg="mod topLvl">
          <ac:chgData name="Ettore Minelli" userId="7870a1ad-01cf-4239-8cce-750deae7f4ef" providerId="ADAL" clId="{0FDC7236-0C66-43F6-99AF-1100E6B9ED67}" dt="2022-10-26T12:21:54.602" v="1817" actId="165"/>
          <ac:cxnSpMkLst>
            <pc:docMk/>
            <pc:sldMk cId="652284864" sldId="260"/>
            <ac:cxnSpMk id="12" creationId="{B17CFFFB-195C-4A77-899B-29675B38CD63}"/>
          </ac:cxnSpMkLst>
        </pc:cxnChg>
        <pc:cxnChg chg="add mod topLvl">
          <ac:chgData name="Ettore Minelli" userId="7870a1ad-01cf-4239-8cce-750deae7f4ef" providerId="ADAL" clId="{0FDC7236-0C66-43F6-99AF-1100E6B9ED67}" dt="2022-10-26T12:21:54.602" v="1817" actId="165"/>
          <ac:cxnSpMkLst>
            <pc:docMk/>
            <pc:sldMk cId="652284864" sldId="260"/>
            <ac:cxnSpMk id="14" creationId="{35E4B762-8B04-47DF-94F8-5A9B4C55AA20}"/>
          </ac:cxnSpMkLst>
        </pc:cxnChg>
        <pc:cxnChg chg="add mod topLvl">
          <ac:chgData name="Ettore Minelli" userId="7870a1ad-01cf-4239-8cce-750deae7f4ef" providerId="ADAL" clId="{0FDC7236-0C66-43F6-99AF-1100E6B9ED67}" dt="2022-10-26T12:21:54.602" v="1817" actId="165"/>
          <ac:cxnSpMkLst>
            <pc:docMk/>
            <pc:sldMk cId="652284864" sldId="260"/>
            <ac:cxnSpMk id="17" creationId="{9DAD32FF-172E-4CF0-A5C3-029E617E519A}"/>
          </ac:cxnSpMkLst>
        </pc:cxnChg>
        <pc:cxnChg chg="mod topLvl">
          <ac:chgData name="Ettore Minelli" userId="7870a1ad-01cf-4239-8cce-750deae7f4ef" providerId="ADAL" clId="{0FDC7236-0C66-43F6-99AF-1100E6B9ED67}" dt="2022-10-26T12:21:59.286" v="1818" actId="164"/>
          <ac:cxnSpMkLst>
            <pc:docMk/>
            <pc:sldMk cId="652284864" sldId="260"/>
            <ac:cxnSpMk id="22" creationId="{B78F379F-9D26-46DA-AEC5-3140D4B4FE9E}"/>
          </ac:cxnSpMkLst>
        </pc:cxnChg>
        <pc:cxnChg chg="mod topLvl">
          <ac:chgData name="Ettore Minelli" userId="7870a1ad-01cf-4239-8cce-750deae7f4ef" providerId="ADAL" clId="{0FDC7236-0C66-43F6-99AF-1100E6B9ED67}" dt="2022-10-26T12:21:59.286" v="1818" actId="164"/>
          <ac:cxnSpMkLst>
            <pc:docMk/>
            <pc:sldMk cId="652284864" sldId="260"/>
            <ac:cxnSpMk id="23" creationId="{F7275CDA-6ABA-47A2-9E02-EC2011E899CE}"/>
          </ac:cxnSpMkLst>
        </pc:cxnChg>
        <pc:cxnChg chg="mod topLvl">
          <ac:chgData name="Ettore Minelli" userId="7870a1ad-01cf-4239-8cce-750deae7f4ef" providerId="ADAL" clId="{0FDC7236-0C66-43F6-99AF-1100E6B9ED67}" dt="2022-10-26T12:21:59.286" v="1818" actId="164"/>
          <ac:cxnSpMkLst>
            <pc:docMk/>
            <pc:sldMk cId="652284864" sldId="260"/>
            <ac:cxnSpMk id="24" creationId="{33D9EC67-399E-495E-9186-DADAAF5AF87B}"/>
          </ac:cxnSpMkLst>
        </pc:cxnChg>
        <pc:cxnChg chg="mod topLvl">
          <ac:chgData name="Ettore Minelli" userId="7870a1ad-01cf-4239-8cce-750deae7f4ef" providerId="ADAL" clId="{0FDC7236-0C66-43F6-99AF-1100E6B9ED67}" dt="2022-10-26T12:21:59.286" v="1818" actId="164"/>
          <ac:cxnSpMkLst>
            <pc:docMk/>
            <pc:sldMk cId="652284864" sldId="260"/>
            <ac:cxnSpMk id="30" creationId="{85E37BED-D647-4097-9EFB-B49F2BAB5893}"/>
          </ac:cxnSpMkLst>
        </pc:cxnChg>
        <pc:cxnChg chg="mod topLvl">
          <ac:chgData name="Ettore Minelli" userId="7870a1ad-01cf-4239-8cce-750deae7f4ef" providerId="ADAL" clId="{0FDC7236-0C66-43F6-99AF-1100E6B9ED67}" dt="2022-10-26T12:21:59.286" v="1818" actId="164"/>
          <ac:cxnSpMkLst>
            <pc:docMk/>
            <pc:sldMk cId="652284864" sldId="260"/>
            <ac:cxnSpMk id="31" creationId="{0145A896-C2A4-4C4C-B1AB-EDD4F19FD37F}"/>
          </ac:cxnSpMkLst>
        </pc:cxnChg>
        <pc:cxnChg chg="add mod topLvl">
          <ac:chgData name="Ettore Minelli" userId="7870a1ad-01cf-4239-8cce-750deae7f4ef" providerId="ADAL" clId="{0FDC7236-0C66-43F6-99AF-1100E6B9ED67}" dt="2022-10-26T12:21:59.286" v="1818" actId="164"/>
          <ac:cxnSpMkLst>
            <pc:docMk/>
            <pc:sldMk cId="652284864" sldId="260"/>
            <ac:cxnSpMk id="39" creationId="{5AD925F2-5ADF-4803-8557-EC327E9B2204}"/>
          </ac:cxnSpMkLst>
        </pc:cxnChg>
        <pc:cxnChg chg="add mod topLvl">
          <ac:chgData name="Ettore Minelli" userId="7870a1ad-01cf-4239-8cce-750deae7f4ef" providerId="ADAL" clId="{0FDC7236-0C66-43F6-99AF-1100E6B9ED67}" dt="2022-10-26T12:21:59.286" v="1818" actId="164"/>
          <ac:cxnSpMkLst>
            <pc:docMk/>
            <pc:sldMk cId="652284864" sldId="260"/>
            <ac:cxnSpMk id="40" creationId="{7E987F3E-4900-4BF0-9185-6E30966FB979}"/>
          </ac:cxnSpMkLst>
        </pc:cxnChg>
        <pc:cxnChg chg="add del mod">
          <ac:chgData name="Ettore Minelli" userId="7870a1ad-01cf-4239-8cce-750deae7f4ef" providerId="ADAL" clId="{0FDC7236-0C66-43F6-99AF-1100E6B9ED67}" dt="2022-10-26T08:38:45.294" v="1081" actId="478"/>
          <ac:cxnSpMkLst>
            <pc:docMk/>
            <pc:sldMk cId="652284864" sldId="260"/>
            <ac:cxnSpMk id="48" creationId="{73EF0B10-2624-4AF9-881B-DDE80BCD1017}"/>
          </ac:cxnSpMkLst>
        </pc:cxnChg>
        <pc:cxnChg chg="add mod topLvl">
          <ac:chgData name="Ettore Minelli" userId="7870a1ad-01cf-4239-8cce-750deae7f4ef" providerId="ADAL" clId="{0FDC7236-0C66-43F6-99AF-1100E6B9ED67}" dt="2022-10-26T12:21:59.286" v="1818" actId="164"/>
          <ac:cxnSpMkLst>
            <pc:docMk/>
            <pc:sldMk cId="652284864" sldId="260"/>
            <ac:cxnSpMk id="50" creationId="{8396D429-578C-411E-A884-7189B5659FAF}"/>
          </ac:cxnSpMkLst>
        </pc:cxnChg>
        <pc:cxnChg chg="add mod topLvl">
          <ac:chgData name="Ettore Minelli" userId="7870a1ad-01cf-4239-8cce-750deae7f4ef" providerId="ADAL" clId="{0FDC7236-0C66-43F6-99AF-1100E6B9ED67}" dt="2022-10-26T12:21:59.286" v="1818" actId="164"/>
          <ac:cxnSpMkLst>
            <pc:docMk/>
            <pc:sldMk cId="652284864" sldId="260"/>
            <ac:cxnSpMk id="52" creationId="{5EC3A22B-5F4B-40C1-A102-0ED2561C662C}"/>
          </ac:cxnSpMkLst>
        </pc:cxnChg>
      </pc:sldChg>
      <pc:sldChg chg="addSp delSp modSp new mod">
        <pc:chgData name="Ettore Minelli" userId="7870a1ad-01cf-4239-8cce-750deae7f4ef" providerId="ADAL" clId="{0FDC7236-0C66-43F6-99AF-1100E6B9ED67}" dt="2022-10-26T09:15:41.307" v="1804" actId="478"/>
        <pc:sldMkLst>
          <pc:docMk/>
          <pc:sldMk cId="2228695049" sldId="261"/>
        </pc:sldMkLst>
        <pc:spChg chg="add mod">
          <ac:chgData name="Ettore Minelli" userId="7870a1ad-01cf-4239-8cce-750deae7f4ef" providerId="ADAL" clId="{0FDC7236-0C66-43F6-99AF-1100E6B9ED67}" dt="2022-10-26T09:11:48.158" v="1800" actId="164"/>
          <ac:spMkLst>
            <pc:docMk/>
            <pc:sldMk cId="2228695049" sldId="261"/>
            <ac:spMk id="3" creationId="{68B26CFD-D23A-4E79-8947-7B054A057518}"/>
          </ac:spMkLst>
        </pc:spChg>
        <pc:spChg chg="add mod">
          <ac:chgData name="Ettore Minelli" userId="7870a1ad-01cf-4239-8cce-750deae7f4ef" providerId="ADAL" clId="{0FDC7236-0C66-43F6-99AF-1100E6B9ED67}" dt="2022-10-26T09:11:48.158" v="1800" actId="164"/>
          <ac:spMkLst>
            <pc:docMk/>
            <pc:sldMk cId="2228695049" sldId="261"/>
            <ac:spMk id="4" creationId="{4E3A5DC8-BC74-4CAB-B1DE-E512B1986647}"/>
          </ac:spMkLst>
        </pc:spChg>
        <pc:spChg chg="add mod">
          <ac:chgData name="Ettore Minelli" userId="7870a1ad-01cf-4239-8cce-750deae7f4ef" providerId="ADAL" clId="{0FDC7236-0C66-43F6-99AF-1100E6B9ED67}" dt="2022-10-26T09:11:48.158" v="1800" actId="164"/>
          <ac:spMkLst>
            <pc:docMk/>
            <pc:sldMk cId="2228695049" sldId="261"/>
            <ac:spMk id="5" creationId="{71CD4CA6-9EF1-4AD0-ABFC-B9EB7F0BD4BF}"/>
          </ac:spMkLst>
        </pc:spChg>
        <pc:spChg chg="add mod">
          <ac:chgData name="Ettore Minelli" userId="7870a1ad-01cf-4239-8cce-750deae7f4ef" providerId="ADAL" clId="{0FDC7236-0C66-43F6-99AF-1100E6B9ED67}" dt="2022-10-26T09:11:48.158" v="1800" actId="164"/>
          <ac:spMkLst>
            <pc:docMk/>
            <pc:sldMk cId="2228695049" sldId="261"/>
            <ac:spMk id="6" creationId="{FCC8709D-1210-41FB-8F39-36E0BCEA14B2}"/>
          </ac:spMkLst>
        </pc:spChg>
        <pc:spChg chg="add mod">
          <ac:chgData name="Ettore Minelli" userId="7870a1ad-01cf-4239-8cce-750deae7f4ef" providerId="ADAL" clId="{0FDC7236-0C66-43F6-99AF-1100E6B9ED67}" dt="2022-10-26T09:11:48.158" v="1800" actId="164"/>
          <ac:spMkLst>
            <pc:docMk/>
            <pc:sldMk cId="2228695049" sldId="261"/>
            <ac:spMk id="7" creationId="{583FBCBC-CDB3-4BE1-83A0-E8FA679B6DE0}"/>
          </ac:spMkLst>
        </pc:spChg>
        <pc:spChg chg="add mod">
          <ac:chgData name="Ettore Minelli" userId="7870a1ad-01cf-4239-8cce-750deae7f4ef" providerId="ADAL" clId="{0FDC7236-0C66-43F6-99AF-1100E6B9ED67}" dt="2022-10-26T09:11:48.158" v="1800" actId="164"/>
          <ac:spMkLst>
            <pc:docMk/>
            <pc:sldMk cId="2228695049" sldId="261"/>
            <ac:spMk id="8" creationId="{4F1A8FBE-C5B4-464F-AE23-4A12CC710DD8}"/>
          </ac:spMkLst>
        </pc:spChg>
        <pc:spChg chg="add mod">
          <ac:chgData name="Ettore Minelli" userId="7870a1ad-01cf-4239-8cce-750deae7f4ef" providerId="ADAL" clId="{0FDC7236-0C66-43F6-99AF-1100E6B9ED67}" dt="2022-10-26T09:11:48.158" v="1800" actId="164"/>
          <ac:spMkLst>
            <pc:docMk/>
            <pc:sldMk cId="2228695049" sldId="261"/>
            <ac:spMk id="9" creationId="{57DDDA21-E016-4842-A59B-87A9EE290210}"/>
          </ac:spMkLst>
        </pc:spChg>
        <pc:spChg chg="add mod">
          <ac:chgData name="Ettore Minelli" userId="7870a1ad-01cf-4239-8cce-750deae7f4ef" providerId="ADAL" clId="{0FDC7236-0C66-43F6-99AF-1100E6B9ED67}" dt="2022-10-26T09:11:48.158" v="1800" actId="164"/>
          <ac:spMkLst>
            <pc:docMk/>
            <pc:sldMk cId="2228695049" sldId="261"/>
            <ac:spMk id="10" creationId="{4E2C0F6A-D639-417A-8323-68458EA32601}"/>
          </ac:spMkLst>
        </pc:spChg>
        <pc:spChg chg="add mod">
          <ac:chgData name="Ettore Minelli" userId="7870a1ad-01cf-4239-8cce-750deae7f4ef" providerId="ADAL" clId="{0FDC7236-0C66-43F6-99AF-1100E6B9ED67}" dt="2022-10-26T09:11:48.158" v="1800" actId="164"/>
          <ac:spMkLst>
            <pc:docMk/>
            <pc:sldMk cId="2228695049" sldId="261"/>
            <ac:spMk id="11" creationId="{99062FD7-E20B-44AA-AC8F-F6D08D205AFE}"/>
          </ac:spMkLst>
        </pc:spChg>
        <pc:spChg chg="add mod">
          <ac:chgData name="Ettore Minelli" userId="7870a1ad-01cf-4239-8cce-750deae7f4ef" providerId="ADAL" clId="{0FDC7236-0C66-43F6-99AF-1100E6B9ED67}" dt="2022-10-26T09:11:48.158" v="1800" actId="164"/>
          <ac:spMkLst>
            <pc:docMk/>
            <pc:sldMk cId="2228695049" sldId="261"/>
            <ac:spMk id="12" creationId="{20A5EBB0-A085-46D0-A5CE-19A7087D9A4E}"/>
          </ac:spMkLst>
        </pc:spChg>
        <pc:spChg chg="add mod">
          <ac:chgData name="Ettore Minelli" userId="7870a1ad-01cf-4239-8cce-750deae7f4ef" providerId="ADAL" clId="{0FDC7236-0C66-43F6-99AF-1100E6B9ED67}" dt="2022-10-26T09:11:48.158" v="1800" actId="164"/>
          <ac:spMkLst>
            <pc:docMk/>
            <pc:sldMk cId="2228695049" sldId="261"/>
            <ac:spMk id="28" creationId="{0605C127-B8E2-4CE1-84B4-47DC1405BA70}"/>
          </ac:spMkLst>
        </pc:spChg>
        <pc:spChg chg="add mod">
          <ac:chgData name="Ettore Minelli" userId="7870a1ad-01cf-4239-8cce-750deae7f4ef" providerId="ADAL" clId="{0FDC7236-0C66-43F6-99AF-1100E6B9ED67}" dt="2022-10-26T09:11:48.158" v="1800" actId="164"/>
          <ac:spMkLst>
            <pc:docMk/>
            <pc:sldMk cId="2228695049" sldId="261"/>
            <ac:spMk id="29" creationId="{D88A8CF9-BD78-4B0F-86CC-5AB91667A482}"/>
          </ac:spMkLst>
        </pc:spChg>
        <pc:spChg chg="mod">
          <ac:chgData name="Ettore Minelli" userId="7870a1ad-01cf-4239-8cce-750deae7f4ef" providerId="ADAL" clId="{0FDC7236-0C66-43F6-99AF-1100E6B9ED67}" dt="2022-10-26T09:15:36.315" v="1802"/>
          <ac:spMkLst>
            <pc:docMk/>
            <pc:sldMk cId="2228695049" sldId="261"/>
            <ac:spMk id="46" creationId="{E3B778A3-46B1-41C1-958F-123AE1AF4524}"/>
          </ac:spMkLst>
        </pc:spChg>
        <pc:spChg chg="mod">
          <ac:chgData name="Ettore Minelli" userId="7870a1ad-01cf-4239-8cce-750deae7f4ef" providerId="ADAL" clId="{0FDC7236-0C66-43F6-99AF-1100E6B9ED67}" dt="2022-10-26T09:15:36.315" v="1802"/>
          <ac:spMkLst>
            <pc:docMk/>
            <pc:sldMk cId="2228695049" sldId="261"/>
            <ac:spMk id="47" creationId="{DEB3BFC5-5B8F-4362-BC7F-F5D80A94E231}"/>
          </ac:spMkLst>
        </pc:spChg>
        <pc:spChg chg="mod">
          <ac:chgData name="Ettore Minelli" userId="7870a1ad-01cf-4239-8cce-750deae7f4ef" providerId="ADAL" clId="{0FDC7236-0C66-43F6-99AF-1100E6B9ED67}" dt="2022-10-26T09:15:36.315" v="1802"/>
          <ac:spMkLst>
            <pc:docMk/>
            <pc:sldMk cId="2228695049" sldId="261"/>
            <ac:spMk id="48" creationId="{3191D627-1AD7-4274-B4F9-3EBCA8E0C904}"/>
          </ac:spMkLst>
        </pc:spChg>
        <pc:spChg chg="mod">
          <ac:chgData name="Ettore Minelli" userId="7870a1ad-01cf-4239-8cce-750deae7f4ef" providerId="ADAL" clId="{0FDC7236-0C66-43F6-99AF-1100E6B9ED67}" dt="2022-10-26T09:15:36.315" v="1802"/>
          <ac:spMkLst>
            <pc:docMk/>
            <pc:sldMk cId="2228695049" sldId="261"/>
            <ac:spMk id="49" creationId="{9F9D320F-CA02-4C87-BCE1-6BB6FEBBFEAA}"/>
          </ac:spMkLst>
        </pc:spChg>
        <pc:spChg chg="mod">
          <ac:chgData name="Ettore Minelli" userId="7870a1ad-01cf-4239-8cce-750deae7f4ef" providerId="ADAL" clId="{0FDC7236-0C66-43F6-99AF-1100E6B9ED67}" dt="2022-10-26T09:15:36.315" v="1802"/>
          <ac:spMkLst>
            <pc:docMk/>
            <pc:sldMk cId="2228695049" sldId="261"/>
            <ac:spMk id="50" creationId="{284F0E1A-60E9-41FD-B5BA-AEBA737FAF20}"/>
          </ac:spMkLst>
        </pc:spChg>
        <pc:spChg chg="mod">
          <ac:chgData name="Ettore Minelli" userId="7870a1ad-01cf-4239-8cce-750deae7f4ef" providerId="ADAL" clId="{0FDC7236-0C66-43F6-99AF-1100E6B9ED67}" dt="2022-10-26T09:15:36.315" v="1802"/>
          <ac:spMkLst>
            <pc:docMk/>
            <pc:sldMk cId="2228695049" sldId="261"/>
            <ac:spMk id="51" creationId="{03FAEB4B-7661-4ED4-9C61-40EEEE8610F0}"/>
          </ac:spMkLst>
        </pc:spChg>
        <pc:spChg chg="mod">
          <ac:chgData name="Ettore Minelli" userId="7870a1ad-01cf-4239-8cce-750deae7f4ef" providerId="ADAL" clId="{0FDC7236-0C66-43F6-99AF-1100E6B9ED67}" dt="2022-10-26T09:15:36.315" v="1802"/>
          <ac:spMkLst>
            <pc:docMk/>
            <pc:sldMk cId="2228695049" sldId="261"/>
            <ac:spMk id="52" creationId="{7C2C15F9-032C-4BDB-94A4-B257D82E3154}"/>
          </ac:spMkLst>
        </pc:spChg>
        <pc:spChg chg="mod">
          <ac:chgData name="Ettore Minelli" userId="7870a1ad-01cf-4239-8cce-750deae7f4ef" providerId="ADAL" clId="{0FDC7236-0C66-43F6-99AF-1100E6B9ED67}" dt="2022-10-26T09:15:36.315" v="1802"/>
          <ac:spMkLst>
            <pc:docMk/>
            <pc:sldMk cId="2228695049" sldId="261"/>
            <ac:spMk id="53" creationId="{2573FCD1-7F04-451A-BC38-6F5F92635519}"/>
          </ac:spMkLst>
        </pc:spChg>
        <pc:spChg chg="mod">
          <ac:chgData name="Ettore Minelli" userId="7870a1ad-01cf-4239-8cce-750deae7f4ef" providerId="ADAL" clId="{0FDC7236-0C66-43F6-99AF-1100E6B9ED67}" dt="2022-10-26T09:15:36.315" v="1802"/>
          <ac:spMkLst>
            <pc:docMk/>
            <pc:sldMk cId="2228695049" sldId="261"/>
            <ac:spMk id="54" creationId="{C04D9F11-5044-4ADA-A224-5A62487B6BB3}"/>
          </ac:spMkLst>
        </pc:spChg>
        <pc:spChg chg="mod">
          <ac:chgData name="Ettore Minelli" userId="7870a1ad-01cf-4239-8cce-750deae7f4ef" providerId="ADAL" clId="{0FDC7236-0C66-43F6-99AF-1100E6B9ED67}" dt="2022-10-26T09:15:36.315" v="1802"/>
          <ac:spMkLst>
            <pc:docMk/>
            <pc:sldMk cId="2228695049" sldId="261"/>
            <ac:spMk id="55" creationId="{EAB6F07B-CD9A-4487-8654-8C5486AB24BF}"/>
          </ac:spMkLst>
        </pc:spChg>
        <pc:spChg chg="mod">
          <ac:chgData name="Ettore Minelli" userId="7870a1ad-01cf-4239-8cce-750deae7f4ef" providerId="ADAL" clId="{0FDC7236-0C66-43F6-99AF-1100E6B9ED67}" dt="2022-10-26T09:15:36.315" v="1802"/>
          <ac:spMkLst>
            <pc:docMk/>
            <pc:sldMk cId="2228695049" sldId="261"/>
            <ac:spMk id="61" creationId="{6AE90778-3492-49B3-9D91-E35EE4D4D982}"/>
          </ac:spMkLst>
        </pc:spChg>
        <pc:spChg chg="mod">
          <ac:chgData name="Ettore Minelli" userId="7870a1ad-01cf-4239-8cce-750deae7f4ef" providerId="ADAL" clId="{0FDC7236-0C66-43F6-99AF-1100E6B9ED67}" dt="2022-10-26T09:15:36.315" v="1802"/>
          <ac:spMkLst>
            <pc:docMk/>
            <pc:sldMk cId="2228695049" sldId="261"/>
            <ac:spMk id="62" creationId="{DF9DF9EF-0DFE-4F66-A050-EF3C293FD99D}"/>
          </ac:spMkLst>
        </pc:spChg>
        <pc:grpChg chg="add mod">
          <ac:chgData name="Ettore Minelli" userId="7870a1ad-01cf-4239-8cce-750deae7f4ef" providerId="ADAL" clId="{0FDC7236-0C66-43F6-99AF-1100E6B9ED67}" dt="2022-10-26T09:15:25.148" v="1801" actId="1076"/>
          <ac:grpSpMkLst>
            <pc:docMk/>
            <pc:sldMk cId="2228695049" sldId="261"/>
            <ac:grpSpMk id="44" creationId="{941ADF8E-4BBD-4F5F-9813-A15E8A258CC9}"/>
          </ac:grpSpMkLst>
        </pc:grpChg>
        <pc:grpChg chg="add del mod">
          <ac:chgData name="Ettore Minelli" userId="7870a1ad-01cf-4239-8cce-750deae7f4ef" providerId="ADAL" clId="{0FDC7236-0C66-43F6-99AF-1100E6B9ED67}" dt="2022-10-26T09:15:41.307" v="1804" actId="478"/>
          <ac:grpSpMkLst>
            <pc:docMk/>
            <pc:sldMk cId="2228695049" sldId="261"/>
            <ac:grpSpMk id="45" creationId="{F2EE04E3-FAE7-4E5E-97C6-07C0CEC35E2A}"/>
          </ac:grpSpMkLst>
        </pc:grpChg>
        <pc:picChg chg="add mod">
          <ac:chgData name="Ettore Minelli" userId="7870a1ad-01cf-4239-8cce-750deae7f4ef" providerId="ADAL" clId="{0FDC7236-0C66-43F6-99AF-1100E6B9ED67}" dt="2022-10-26T09:02:27.414" v="1387" actId="1076"/>
          <ac:picMkLst>
            <pc:docMk/>
            <pc:sldMk cId="2228695049" sldId="261"/>
            <ac:picMk id="2" creationId="{984E5E1C-C15C-436D-B27B-148C7D4BCFEF}"/>
          </ac:picMkLst>
        </pc:picChg>
        <pc:cxnChg chg="add del mod">
          <ac:chgData name="Ettore Minelli" userId="7870a1ad-01cf-4239-8cce-750deae7f4ef" providerId="ADAL" clId="{0FDC7236-0C66-43F6-99AF-1100E6B9ED67}" dt="2022-10-26T09:08:18.962" v="1763" actId="478"/>
          <ac:cxnSpMkLst>
            <pc:docMk/>
            <pc:sldMk cId="2228695049" sldId="261"/>
            <ac:cxnSpMk id="14" creationId="{9F2CB9AD-CC27-4CF1-81FE-D618847200B4}"/>
          </ac:cxnSpMkLst>
        </pc:cxnChg>
        <pc:cxnChg chg="add del mod">
          <ac:chgData name="Ettore Minelli" userId="7870a1ad-01cf-4239-8cce-750deae7f4ef" providerId="ADAL" clId="{0FDC7236-0C66-43F6-99AF-1100E6B9ED67}" dt="2022-10-26T09:08:42.639" v="1767" actId="478"/>
          <ac:cxnSpMkLst>
            <pc:docMk/>
            <pc:sldMk cId="2228695049" sldId="261"/>
            <ac:cxnSpMk id="16" creationId="{CE635420-4409-4EE1-8784-0DDF1AB5F57B}"/>
          </ac:cxnSpMkLst>
        </pc:cxnChg>
        <pc:cxnChg chg="add mod">
          <ac:chgData name="Ettore Minelli" userId="7870a1ad-01cf-4239-8cce-750deae7f4ef" providerId="ADAL" clId="{0FDC7236-0C66-43F6-99AF-1100E6B9ED67}" dt="2022-10-26T09:11:48.158" v="1800" actId="164"/>
          <ac:cxnSpMkLst>
            <pc:docMk/>
            <pc:sldMk cId="2228695049" sldId="261"/>
            <ac:cxnSpMk id="18" creationId="{5AEF3095-4A00-43AB-8361-16636F9F8593}"/>
          </ac:cxnSpMkLst>
        </pc:cxnChg>
        <pc:cxnChg chg="add mod">
          <ac:chgData name="Ettore Minelli" userId="7870a1ad-01cf-4239-8cce-750deae7f4ef" providerId="ADAL" clId="{0FDC7236-0C66-43F6-99AF-1100E6B9ED67}" dt="2022-10-26T09:11:48.158" v="1800" actId="164"/>
          <ac:cxnSpMkLst>
            <pc:docMk/>
            <pc:sldMk cId="2228695049" sldId="261"/>
            <ac:cxnSpMk id="21" creationId="{5C28BC90-2B60-48B6-87E2-944E634BA195}"/>
          </ac:cxnSpMkLst>
        </pc:cxnChg>
        <pc:cxnChg chg="add mod">
          <ac:chgData name="Ettore Minelli" userId="7870a1ad-01cf-4239-8cce-750deae7f4ef" providerId="ADAL" clId="{0FDC7236-0C66-43F6-99AF-1100E6B9ED67}" dt="2022-10-26T09:11:48.158" v="1800" actId="164"/>
          <ac:cxnSpMkLst>
            <pc:docMk/>
            <pc:sldMk cId="2228695049" sldId="261"/>
            <ac:cxnSpMk id="23" creationId="{20F98372-BEC2-4A63-9966-93AB31DD8662}"/>
          </ac:cxnSpMkLst>
        </pc:cxnChg>
        <pc:cxnChg chg="add mod">
          <ac:chgData name="Ettore Minelli" userId="7870a1ad-01cf-4239-8cce-750deae7f4ef" providerId="ADAL" clId="{0FDC7236-0C66-43F6-99AF-1100E6B9ED67}" dt="2022-10-26T09:11:48.158" v="1800" actId="164"/>
          <ac:cxnSpMkLst>
            <pc:docMk/>
            <pc:sldMk cId="2228695049" sldId="261"/>
            <ac:cxnSpMk id="25" creationId="{99C490A0-1211-4D27-A82A-2812D6C52D78}"/>
          </ac:cxnSpMkLst>
        </pc:cxnChg>
        <pc:cxnChg chg="add mod">
          <ac:chgData name="Ettore Minelli" userId="7870a1ad-01cf-4239-8cce-750deae7f4ef" providerId="ADAL" clId="{0FDC7236-0C66-43F6-99AF-1100E6B9ED67}" dt="2022-10-26T09:11:48.158" v="1800" actId="164"/>
          <ac:cxnSpMkLst>
            <pc:docMk/>
            <pc:sldMk cId="2228695049" sldId="261"/>
            <ac:cxnSpMk id="27" creationId="{F45AA507-D41C-40D6-B947-9A2B2FD00129}"/>
          </ac:cxnSpMkLst>
        </pc:cxnChg>
        <pc:cxnChg chg="add mod">
          <ac:chgData name="Ettore Minelli" userId="7870a1ad-01cf-4239-8cce-750deae7f4ef" providerId="ADAL" clId="{0FDC7236-0C66-43F6-99AF-1100E6B9ED67}" dt="2022-10-26T09:11:48.158" v="1800" actId="164"/>
          <ac:cxnSpMkLst>
            <pc:docMk/>
            <pc:sldMk cId="2228695049" sldId="261"/>
            <ac:cxnSpMk id="31" creationId="{45A95851-69C1-4978-A71F-5F3F078A1771}"/>
          </ac:cxnSpMkLst>
        </pc:cxnChg>
        <pc:cxnChg chg="add mod">
          <ac:chgData name="Ettore Minelli" userId="7870a1ad-01cf-4239-8cce-750deae7f4ef" providerId="ADAL" clId="{0FDC7236-0C66-43F6-99AF-1100E6B9ED67}" dt="2022-10-26T09:11:48.158" v="1800" actId="164"/>
          <ac:cxnSpMkLst>
            <pc:docMk/>
            <pc:sldMk cId="2228695049" sldId="261"/>
            <ac:cxnSpMk id="33" creationId="{770A4C36-6850-4CCF-971C-02E148E4D9CB}"/>
          </ac:cxnSpMkLst>
        </pc:cxnChg>
        <pc:cxnChg chg="add mod">
          <ac:chgData name="Ettore Minelli" userId="7870a1ad-01cf-4239-8cce-750deae7f4ef" providerId="ADAL" clId="{0FDC7236-0C66-43F6-99AF-1100E6B9ED67}" dt="2022-10-26T09:11:48.158" v="1800" actId="164"/>
          <ac:cxnSpMkLst>
            <pc:docMk/>
            <pc:sldMk cId="2228695049" sldId="261"/>
            <ac:cxnSpMk id="35" creationId="{EE48FE24-BF8C-428D-AA6E-FBE077403886}"/>
          </ac:cxnSpMkLst>
        </pc:cxnChg>
        <pc:cxnChg chg="add mod">
          <ac:chgData name="Ettore Minelli" userId="7870a1ad-01cf-4239-8cce-750deae7f4ef" providerId="ADAL" clId="{0FDC7236-0C66-43F6-99AF-1100E6B9ED67}" dt="2022-10-26T09:11:48.158" v="1800" actId="164"/>
          <ac:cxnSpMkLst>
            <pc:docMk/>
            <pc:sldMk cId="2228695049" sldId="261"/>
            <ac:cxnSpMk id="37" creationId="{A5CF7603-F750-462D-B682-33799F71C8E6}"/>
          </ac:cxnSpMkLst>
        </pc:cxnChg>
        <pc:cxnChg chg="add mod">
          <ac:chgData name="Ettore Minelli" userId="7870a1ad-01cf-4239-8cce-750deae7f4ef" providerId="ADAL" clId="{0FDC7236-0C66-43F6-99AF-1100E6B9ED67}" dt="2022-10-26T09:11:48.158" v="1800" actId="164"/>
          <ac:cxnSpMkLst>
            <pc:docMk/>
            <pc:sldMk cId="2228695049" sldId="261"/>
            <ac:cxnSpMk id="39" creationId="{CAE71FA5-7450-4E69-95F5-C463FD4B4CA6}"/>
          </ac:cxnSpMkLst>
        </pc:cxnChg>
        <pc:cxnChg chg="add mod">
          <ac:chgData name="Ettore Minelli" userId="7870a1ad-01cf-4239-8cce-750deae7f4ef" providerId="ADAL" clId="{0FDC7236-0C66-43F6-99AF-1100E6B9ED67}" dt="2022-10-26T09:11:48.158" v="1800" actId="164"/>
          <ac:cxnSpMkLst>
            <pc:docMk/>
            <pc:sldMk cId="2228695049" sldId="261"/>
            <ac:cxnSpMk id="41" creationId="{272220D9-DF64-4645-ACDB-1842D06292FF}"/>
          </ac:cxnSpMkLst>
        </pc:cxnChg>
        <pc:cxnChg chg="add mod">
          <ac:chgData name="Ettore Minelli" userId="7870a1ad-01cf-4239-8cce-750deae7f4ef" providerId="ADAL" clId="{0FDC7236-0C66-43F6-99AF-1100E6B9ED67}" dt="2022-10-26T09:11:48.158" v="1800" actId="164"/>
          <ac:cxnSpMkLst>
            <pc:docMk/>
            <pc:sldMk cId="2228695049" sldId="261"/>
            <ac:cxnSpMk id="43" creationId="{6B987065-2B93-4664-B716-DFBCB71F0876}"/>
          </ac:cxnSpMkLst>
        </pc:cxnChg>
        <pc:cxnChg chg="mod">
          <ac:chgData name="Ettore Minelli" userId="7870a1ad-01cf-4239-8cce-750deae7f4ef" providerId="ADAL" clId="{0FDC7236-0C66-43F6-99AF-1100E6B9ED67}" dt="2022-10-26T09:15:41.307" v="1804" actId="478"/>
          <ac:cxnSpMkLst>
            <pc:docMk/>
            <pc:sldMk cId="2228695049" sldId="261"/>
            <ac:cxnSpMk id="56" creationId="{36436246-6CA5-4782-B732-806C193083C1}"/>
          </ac:cxnSpMkLst>
        </pc:cxnChg>
        <pc:cxnChg chg="mod">
          <ac:chgData name="Ettore Minelli" userId="7870a1ad-01cf-4239-8cce-750deae7f4ef" providerId="ADAL" clId="{0FDC7236-0C66-43F6-99AF-1100E6B9ED67}" dt="2022-10-26T09:15:41.307" v="1804" actId="478"/>
          <ac:cxnSpMkLst>
            <pc:docMk/>
            <pc:sldMk cId="2228695049" sldId="261"/>
            <ac:cxnSpMk id="57" creationId="{F3A0C008-E9E9-4768-B1AC-1E0BB4268E87}"/>
          </ac:cxnSpMkLst>
        </pc:cxnChg>
        <pc:cxnChg chg="mod">
          <ac:chgData name="Ettore Minelli" userId="7870a1ad-01cf-4239-8cce-750deae7f4ef" providerId="ADAL" clId="{0FDC7236-0C66-43F6-99AF-1100E6B9ED67}" dt="2022-10-26T09:15:41.307" v="1804" actId="478"/>
          <ac:cxnSpMkLst>
            <pc:docMk/>
            <pc:sldMk cId="2228695049" sldId="261"/>
            <ac:cxnSpMk id="58" creationId="{07243E10-D9E2-4582-9E29-1E3F9FEC43E0}"/>
          </ac:cxnSpMkLst>
        </pc:cxnChg>
        <pc:cxnChg chg="mod">
          <ac:chgData name="Ettore Minelli" userId="7870a1ad-01cf-4239-8cce-750deae7f4ef" providerId="ADAL" clId="{0FDC7236-0C66-43F6-99AF-1100E6B9ED67}" dt="2022-10-26T09:15:41.307" v="1804" actId="478"/>
          <ac:cxnSpMkLst>
            <pc:docMk/>
            <pc:sldMk cId="2228695049" sldId="261"/>
            <ac:cxnSpMk id="59" creationId="{63830E72-EEB1-4AE4-BBB2-BEC474C2B1A9}"/>
          </ac:cxnSpMkLst>
        </pc:cxnChg>
        <pc:cxnChg chg="mod">
          <ac:chgData name="Ettore Minelli" userId="7870a1ad-01cf-4239-8cce-750deae7f4ef" providerId="ADAL" clId="{0FDC7236-0C66-43F6-99AF-1100E6B9ED67}" dt="2022-10-26T09:15:41.307" v="1804" actId="478"/>
          <ac:cxnSpMkLst>
            <pc:docMk/>
            <pc:sldMk cId="2228695049" sldId="261"/>
            <ac:cxnSpMk id="60" creationId="{9EB46A07-4C04-43F6-ABC8-8F54EF748F72}"/>
          </ac:cxnSpMkLst>
        </pc:cxnChg>
        <pc:cxnChg chg="mod">
          <ac:chgData name="Ettore Minelli" userId="7870a1ad-01cf-4239-8cce-750deae7f4ef" providerId="ADAL" clId="{0FDC7236-0C66-43F6-99AF-1100E6B9ED67}" dt="2022-10-26T09:15:41.307" v="1804" actId="478"/>
          <ac:cxnSpMkLst>
            <pc:docMk/>
            <pc:sldMk cId="2228695049" sldId="261"/>
            <ac:cxnSpMk id="63" creationId="{6C78945B-56D4-4EC8-8486-01DC5EFF1F36}"/>
          </ac:cxnSpMkLst>
        </pc:cxnChg>
        <pc:cxnChg chg="mod">
          <ac:chgData name="Ettore Minelli" userId="7870a1ad-01cf-4239-8cce-750deae7f4ef" providerId="ADAL" clId="{0FDC7236-0C66-43F6-99AF-1100E6B9ED67}" dt="2022-10-26T09:15:41.307" v="1804" actId="478"/>
          <ac:cxnSpMkLst>
            <pc:docMk/>
            <pc:sldMk cId="2228695049" sldId="261"/>
            <ac:cxnSpMk id="64" creationId="{11E12CC8-6AAE-46D7-963C-812C27157186}"/>
          </ac:cxnSpMkLst>
        </pc:cxnChg>
        <pc:cxnChg chg="mod">
          <ac:chgData name="Ettore Minelli" userId="7870a1ad-01cf-4239-8cce-750deae7f4ef" providerId="ADAL" clId="{0FDC7236-0C66-43F6-99AF-1100E6B9ED67}" dt="2022-10-26T09:15:41.307" v="1804" actId="478"/>
          <ac:cxnSpMkLst>
            <pc:docMk/>
            <pc:sldMk cId="2228695049" sldId="261"/>
            <ac:cxnSpMk id="65" creationId="{004C869B-0AC1-4857-8E79-5BC37542767A}"/>
          </ac:cxnSpMkLst>
        </pc:cxnChg>
        <pc:cxnChg chg="mod">
          <ac:chgData name="Ettore Minelli" userId="7870a1ad-01cf-4239-8cce-750deae7f4ef" providerId="ADAL" clId="{0FDC7236-0C66-43F6-99AF-1100E6B9ED67}" dt="2022-10-26T09:15:41.307" v="1804" actId="478"/>
          <ac:cxnSpMkLst>
            <pc:docMk/>
            <pc:sldMk cId="2228695049" sldId="261"/>
            <ac:cxnSpMk id="66" creationId="{97D639C8-C9CA-41B7-9D56-D9D94A491BF7}"/>
          </ac:cxnSpMkLst>
        </pc:cxnChg>
        <pc:cxnChg chg="mod">
          <ac:chgData name="Ettore Minelli" userId="7870a1ad-01cf-4239-8cce-750deae7f4ef" providerId="ADAL" clId="{0FDC7236-0C66-43F6-99AF-1100E6B9ED67}" dt="2022-10-26T09:15:41.307" v="1804" actId="478"/>
          <ac:cxnSpMkLst>
            <pc:docMk/>
            <pc:sldMk cId="2228695049" sldId="261"/>
            <ac:cxnSpMk id="67" creationId="{4BE78C47-7954-4AE6-B5B5-5A9CF8B6490A}"/>
          </ac:cxnSpMkLst>
        </pc:cxnChg>
        <pc:cxnChg chg="mod">
          <ac:chgData name="Ettore Minelli" userId="7870a1ad-01cf-4239-8cce-750deae7f4ef" providerId="ADAL" clId="{0FDC7236-0C66-43F6-99AF-1100E6B9ED67}" dt="2022-10-26T09:15:41.307" v="1804" actId="478"/>
          <ac:cxnSpMkLst>
            <pc:docMk/>
            <pc:sldMk cId="2228695049" sldId="261"/>
            <ac:cxnSpMk id="68" creationId="{1283C6E9-F24B-42AA-B881-D88CE67FEB72}"/>
          </ac:cxnSpMkLst>
        </pc:cxnChg>
        <pc:cxnChg chg="mod">
          <ac:chgData name="Ettore Minelli" userId="7870a1ad-01cf-4239-8cce-750deae7f4ef" providerId="ADAL" clId="{0FDC7236-0C66-43F6-99AF-1100E6B9ED67}" dt="2022-10-26T09:15:41.307" v="1804" actId="478"/>
          <ac:cxnSpMkLst>
            <pc:docMk/>
            <pc:sldMk cId="2228695049" sldId="261"/>
            <ac:cxnSpMk id="69" creationId="{AE1D5A06-DF68-473E-8E05-CBD1B6E1089C}"/>
          </ac:cxnSpMkLst>
        </pc:cxnChg>
      </pc:sldChg>
      <pc:sldChg chg="addSp modSp new mod">
        <pc:chgData name="Ettore Minelli" userId="7870a1ad-01cf-4239-8cce-750deae7f4ef" providerId="ADAL" clId="{0FDC7236-0C66-43F6-99AF-1100E6B9ED67}" dt="2022-10-26T09:17:01.050" v="1812" actId="1076"/>
        <pc:sldMkLst>
          <pc:docMk/>
          <pc:sldMk cId="984608900" sldId="262"/>
        </pc:sldMkLst>
        <pc:spChg chg="mod">
          <ac:chgData name="Ettore Minelli" userId="7870a1ad-01cf-4239-8cce-750deae7f4ef" providerId="ADAL" clId="{0FDC7236-0C66-43F6-99AF-1100E6B9ED67}" dt="2022-10-26T09:16:46.515" v="1809" actId="2711"/>
          <ac:spMkLst>
            <pc:docMk/>
            <pc:sldMk cId="984608900" sldId="262"/>
            <ac:spMk id="3" creationId="{C63581FF-6CEB-4448-A910-403DDA22160B}"/>
          </ac:spMkLst>
        </pc:spChg>
        <pc:spChg chg="mod">
          <ac:chgData name="Ettore Minelli" userId="7870a1ad-01cf-4239-8cce-750deae7f4ef" providerId="ADAL" clId="{0FDC7236-0C66-43F6-99AF-1100E6B9ED67}" dt="2022-10-26T09:16:46.515" v="1809" actId="2711"/>
          <ac:spMkLst>
            <pc:docMk/>
            <pc:sldMk cId="984608900" sldId="262"/>
            <ac:spMk id="4" creationId="{61C6749C-7279-46D8-8E05-ABFB04D5C170}"/>
          </ac:spMkLst>
        </pc:spChg>
        <pc:spChg chg="mod">
          <ac:chgData name="Ettore Minelli" userId="7870a1ad-01cf-4239-8cce-750deae7f4ef" providerId="ADAL" clId="{0FDC7236-0C66-43F6-99AF-1100E6B9ED67}" dt="2022-10-26T09:16:46.515" v="1809" actId="2711"/>
          <ac:spMkLst>
            <pc:docMk/>
            <pc:sldMk cId="984608900" sldId="262"/>
            <ac:spMk id="5" creationId="{1515B05D-760F-4E99-BED3-AC0AEB87551A}"/>
          </ac:spMkLst>
        </pc:spChg>
        <pc:spChg chg="mod">
          <ac:chgData name="Ettore Minelli" userId="7870a1ad-01cf-4239-8cce-750deae7f4ef" providerId="ADAL" clId="{0FDC7236-0C66-43F6-99AF-1100E6B9ED67}" dt="2022-10-26T09:16:46.515" v="1809" actId="2711"/>
          <ac:spMkLst>
            <pc:docMk/>
            <pc:sldMk cId="984608900" sldId="262"/>
            <ac:spMk id="6" creationId="{01380238-9C19-4142-B2C6-85FACE78ABE2}"/>
          </ac:spMkLst>
        </pc:spChg>
        <pc:spChg chg="mod">
          <ac:chgData name="Ettore Minelli" userId="7870a1ad-01cf-4239-8cce-750deae7f4ef" providerId="ADAL" clId="{0FDC7236-0C66-43F6-99AF-1100E6B9ED67}" dt="2022-10-26T09:16:46.515" v="1809" actId="2711"/>
          <ac:spMkLst>
            <pc:docMk/>
            <pc:sldMk cId="984608900" sldId="262"/>
            <ac:spMk id="7" creationId="{405BC3A9-7EA7-4038-9526-046A63A6325E}"/>
          </ac:spMkLst>
        </pc:spChg>
        <pc:spChg chg="mod">
          <ac:chgData name="Ettore Minelli" userId="7870a1ad-01cf-4239-8cce-750deae7f4ef" providerId="ADAL" clId="{0FDC7236-0C66-43F6-99AF-1100E6B9ED67}" dt="2022-10-26T09:16:46.515" v="1809" actId="2711"/>
          <ac:spMkLst>
            <pc:docMk/>
            <pc:sldMk cId="984608900" sldId="262"/>
            <ac:spMk id="8" creationId="{D6E9EB9D-440A-44A8-B430-AD68F45914EF}"/>
          </ac:spMkLst>
        </pc:spChg>
        <pc:spChg chg="mod">
          <ac:chgData name="Ettore Minelli" userId="7870a1ad-01cf-4239-8cce-750deae7f4ef" providerId="ADAL" clId="{0FDC7236-0C66-43F6-99AF-1100E6B9ED67}" dt="2022-10-26T09:16:46.515" v="1809" actId="2711"/>
          <ac:spMkLst>
            <pc:docMk/>
            <pc:sldMk cId="984608900" sldId="262"/>
            <ac:spMk id="9" creationId="{E5100700-F84D-45C3-820D-0BB77AD559CC}"/>
          </ac:spMkLst>
        </pc:spChg>
        <pc:spChg chg="mod">
          <ac:chgData name="Ettore Minelli" userId="7870a1ad-01cf-4239-8cce-750deae7f4ef" providerId="ADAL" clId="{0FDC7236-0C66-43F6-99AF-1100E6B9ED67}" dt="2022-10-26T09:16:46.515" v="1809" actId="2711"/>
          <ac:spMkLst>
            <pc:docMk/>
            <pc:sldMk cId="984608900" sldId="262"/>
            <ac:spMk id="10" creationId="{8E1EB4A6-CD4D-41FE-99AB-43BBEB45CB84}"/>
          </ac:spMkLst>
        </pc:spChg>
        <pc:spChg chg="mod">
          <ac:chgData name="Ettore Minelli" userId="7870a1ad-01cf-4239-8cce-750deae7f4ef" providerId="ADAL" clId="{0FDC7236-0C66-43F6-99AF-1100E6B9ED67}" dt="2022-10-26T09:16:46.515" v="1809" actId="2711"/>
          <ac:spMkLst>
            <pc:docMk/>
            <pc:sldMk cId="984608900" sldId="262"/>
            <ac:spMk id="11" creationId="{1EF53A99-F5D5-4656-8DA0-48D2AC0FEFCD}"/>
          </ac:spMkLst>
        </pc:spChg>
        <pc:spChg chg="mod">
          <ac:chgData name="Ettore Minelli" userId="7870a1ad-01cf-4239-8cce-750deae7f4ef" providerId="ADAL" clId="{0FDC7236-0C66-43F6-99AF-1100E6B9ED67}" dt="2022-10-26T09:16:46.515" v="1809" actId="2711"/>
          <ac:spMkLst>
            <pc:docMk/>
            <pc:sldMk cId="984608900" sldId="262"/>
            <ac:spMk id="12" creationId="{993F3E6A-7DF0-4D80-8421-FF01CA40AA8D}"/>
          </ac:spMkLst>
        </pc:spChg>
        <pc:spChg chg="mod">
          <ac:chgData name="Ettore Minelli" userId="7870a1ad-01cf-4239-8cce-750deae7f4ef" providerId="ADAL" clId="{0FDC7236-0C66-43F6-99AF-1100E6B9ED67}" dt="2022-10-26T09:16:46.515" v="1809" actId="2711"/>
          <ac:spMkLst>
            <pc:docMk/>
            <pc:sldMk cId="984608900" sldId="262"/>
            <ac:spMk id="18" creationId="{E3BF4D66-596B-4532-89D6-04971C39C982}"/>
          </ac:spMkLst>
        </pc:spChg>
        <pc:spChg chg="mod">
          <ac:chgData name="Ettore Minelli" userId="7870a1ad-01cf-4239-8cce-750deae7f4ef" providerId="ADAL" clId="{0FDC7236-0C66-43F6-99AF-1100E6B9ED67}" dt="2022-10-26T09:16:46.515" v="1809" actId="2711"/>
          <ac:spMkLst>
            <pc:docMk/>
            <pc:sldMk cId="984608900" sldId="262"/>
            <ac:spMk id="19" creationId="{84AE4738-D44F-487A-9013-7AF966E08EDF}"/>
          </ac:spMkLst>
        </pc:spChg>
        <pc:grpChg chg="add mod">
          <ac:chgData name="Ettore Minelli" userId="7870a1ad-01cf-4239-8cce-750deae7f4ef" providerId="ADAL" clId="{0FDC7236-0C66-43F6-99AF-1100E6B9ED67}" dt="2022-10-26T09:17:01.050" v="1812" actId="1076"/>
          <ac:grpSpMkLst>
            <pc:docMk/>
            <pc:sldMk cId="984608900" sldId="262"/>
            <ac:grpSpMk id="2" creationId="{72FA5626-9629-4E8A-A3D1-65BD7BD8E28A}"/>
          </ac:grpSpMkLst>
        </pc:grpChg>
        <pc:cxnChg chg="mod">
          <ac:chgData name="Ettore Minelli" userId="7870a1ad-01cf-4239-8cce-750deae7f4ef" providerId="ADAL" clId="{0FDC7236-0C66-43F6-99AF-1100E6B9ED67}" dt="2022-10-26T09:15:46.501" v="1806"/>
          <ac:cxnSpMkLst>
            <pc:docMk/>
            <pc:sldMk cId="984608900" sldId="262"/>
            <ac:cxnSpMk id="13" creationId="{34B3891B-0E3F-4603-873F-69313C899665}"/>
          </ac:cxnSpMkLst>
        </pc:cxnChg>
        <pc:cxnChg chg="mod">
          <ac:chgData name="Ettore Minelli" userId="7870a1ad-01cf-4239-8cce-750deae7f4ef" providerId="ADAL" clId="{0FDC7236-0C66-43F6-99AF-1100E6B9ED67}" dt="2022-10-26T09:15:46.501" v="1806"/>
          <ac:cxnSpMkLst>
            <pc:docMk/>
            <pc:sldMk cId="984608900" sldId="262"/>
            <ac:cxnSpMk id="14" creationId="{0FF6BA5F-4B94-4AF8-AF86-2ED220F7680B}"/>
          </ac:cxnSpMkLst>
        </pc:cxnChg>
        <pc:cxnChg chg="mod">
          <ac:chgData name="Ettore Minelli" userId="7870a1ad-01cf-4239-8cce-750deae7f4ef" providerId="ADAL" clId="{0FDC7236-0C66-43F6-99AF-1100E6B9ED67}" dt="2022-10-26T09:15:46.501" v="1806"/>
          <ac:cxnSpMkLst>
            <pc:docMk/>
            <pc:sldMk cId="984608900" sldId="262"/>
            <ac:cxnSpMk id="15" creationId="{1F60CC2D-819B-4508-8C22-59BE4126F11D}"/>
          </ac:cxnSpMkLst>
        </pc:cxnChg>
        <pc:cxnChg chg="mod">
          <ac:chgData name="Ettore Minelli" userId="7870a1ad-01cf-4239-8cce-750deae7f4ef" providerId="ADAL" clId="{0FDC7236-0C66-43F6-99AF-1100E6B9ED67}" dt="2022-10-26T09:15:46.501" v="1806"/>
          <ac:cxnSpMkLst>
            <pc:docMk/>
            <pc:sldMk cId="984608900" sldId="262"/>
            <ac:cxnSpMk id="16" creationId="{4C8BA7F2-667B-41A5-A8B5-D0A3A0D75FD9}"/>
          </ac:cxnSpMkLst>
        </pc:cxnChg>
        <pc:cxnChg chg="mod">
          <ac:chgData name="Ettore Minelli" userId="7870a1ad-01cf-4239-8cce-750deae7f4ef" providerId="ADAL" clId="{0FDC7236-0C66-43F6-99AF-1100E6B9ED67}" dt="2022-10-26T09:15:46.501" v="1806"/>
          <ac:cxnSpMkLst>
            <pc:docMk/>
            <pc:sldMk cId="984608900" sldId="262"/>
            <ac:cxnSpMk id="17" creationId="{F4427D78-C3E2-4EF2-81DC-708DF3B90DCD}"/>
          </ac:cxnSpMkLst>
        </pc:cxnChg>
        <pc:cxnChg chg="mod">
          <ac:chgData name="Ettore Minelli" userId="7870a1ad-01cf-4239-8cce-750deae7f4ef" providerId="ADAL" clId="{0FDC7236-0C66-43F6-99AF-1100E6B9ED67}" dt="2022-10-26T09:15:46.501" v="1806"/>
          <ac:cxnSpMkLst>
            <pc:docMk/>
            <pc:sldMk cId="984608900" sldId="262"/>
            <ac:cxnSpMk id="20" creationId="{999DD9E3-0E1E-4F91-BFE3-783E1E154A9D}"/>
          </ac:cxnSpMkLst>
        </pc:cxnChg>
        <pc:cxnChg chg="mod">
          <ac:chgData name="Ettore Minelli" userId="7870a1ad-01cf-4239-8cce-750deae7f4ef" providerId="ADAL" clId="{0FDC7236-0C66-43F6-99AF-1100E6B9ED67}" dt="2022-10-26T09:15:46.501" v="1806"/>
          <ac:cxnSpMkLst>
            <pc:docMk/>
            <pc:sldMk cId="984608900" sldId="262"/>
            <ac:cxnSpMk id="21" creationId="{DFC2A16D-1627-4FF3-B7CE-B3B388DFF311}"/>
          </ac:cxnSpMkLst>
        </pc:cxnChg>
        <pc:cxnChg chg="mod">
          <ac:chgData name="Ettore Minelli" userId="7870a1ad-01cf-4239-8cce-750deae7f4ef" providerId="ADAL" clId="{0FDC7236-0C66-43F6-99AF-1100E6B9ED67}" dt="2022-10-26T09:15:46.501" v="1806"/>
          <ac:cxnSpMkLst>
            <pc:docMk/>
            <pc:sldMk cId="984608900" sldId="262"/>
            <ac:cxnSpMk id="22" creationId="{9D5B905A-D68A-45E7-B4D9-4F3A7A7E92CF}"/>
          </ac:cxnSpMkLst>
        </pc:cxnChg>
        <pc:cxnChg chg="mod">
          <ac:chgData name="Ettore Minelli" userId="7870a1ad-01cf-4239-8cce-750deae7f4ef" providerId="ADAL" clId="{0FDC7236-0C66-43F6-99AF-1100E6B9ED67}" dt="2022-10-26T09:15:46.501" v="1806"/>
          <ac:cxnSpMkLst>
            <pc:docMk/>
            <pc:sldMk cId="984608900" sldId="262"/>
            <ac:cxnSpMk id="23" creationId="{B61CDD22-664E-4A00-B1A9-B4B4DB4DF24E}"/>
          </ac:cxnSpMkLst>
        </pc:cxnChg>
        <pc:cxnChg chg="mod">
          <ac:chgData name="Ettore Minelli" userId="7870a1ad-01cf-4239-8cce-750deae7f4ef" providerId="ADAL" clId="{0FDC7236-0C66-43F6-99AF-1100E6B9ED67}" dt="2022-10-26T09:15:46.501" v="1806"/>
          <ac:cxnSpMkLst>
            <pc:docMk/>
            <pc:sldMk cId="984608900" sldId="262"/>
            <ac:cxnSpMk id="24" creationId="{B515A6FC-E474-4D1A-9D62-E69C528ECE0F}"/>
          </ac:cxnSpMkLst>
        </pc:cxnChg>
        <pc:cxnChg chg="mod">
          <ac:chgData name="Ettore Minelli" userId="7870a1ad-01cf-4239-8cce-750deae7f4ef" providerId="ADAL" clId="{0FDC7236-0C66-43F6-99AF-1100E6B9ED67}" dt="2022-10-26T09:15:46.501" v="1806"/>
          <ac:cxnSpMkLst>
            <pc:docMk/>
            <pc:sldMk cId="984608900" sldId="262"/>
            <ac:cxnSpMk id="25" creationId="{98F65675-BC3B-49E7-892C-5B4467352E60}"/>
          </ac:cxnSpMkLst>
        </pc:cxnChg>
        <pc:cxnChg chg="mod">
          <ac:chgData name="Ettore Minelli" userId="7870a1ad-01cf-4239-8cce-750deae7f4ef" providerId="ADAL" clId="{0FDC7236-0C66-43F6-99AF-1100E6B9ED67}" dt="2022-10-26T09:15:46.501" v="1806"/>
          <ac:cxnSpMkLst>
            <pc:docMk/>
            <pc:sldMk cId="984608900" sldId="262"/>
            <ac:cxnSpMk id="26" creationId="{A19C3BD9-27DF-4690-A59B-95BB1735840D}"/>
          </ac:cxnSpMkLst>
        </pc:cxnChg>
      </pc:sldChg>
      <pc:sldChg chg="addSp delSp modSp new mod">
        <pc:chgData name="Ettore Minelli" userId="7870a1ad-01cf-4239-8cce-750deae7f4ef" providerId="ADAL" clId="{0FDC7236-0C66-43F6-99AF-1100E6B9ED67}" dt="2022-10-26T12:31:58.644" v="1951" actId="164"/>
        <pc:sldMkLst>
          <pc:docMk/>
          <pc:sldMk cId="3687160151" sldId="263"/>
        </pc:sldMkLst>
        <pc:spChg chg="mod topLvl">
          <ac:chgData name="Ettore Minelli" userId="7870a1ad-01cf-4239-8cce-750deae7f4ef" providerId="ADAL" clId="{0FDC7236-0C66-43F6-99AF-1100E6B9ED67}" dt="2022-10-26T12:31:58.644" v="1951" actId="164"/>
          <ac:spMkLst>
            <pc:docMk/>
            <pc:sldMk cId="3687160151" sldId="263"/>
            <ac:spMk id="7" creationId="{BDEC643A-A45C-462C-8FF4-21E081000943}"/>
          </ac:spMkLst>
        </pc:spChg>
        <pc:spChg chg="mod topLvl">
          <ac:chgData name="Ettore Minelli" userId="7870a1ad-01cf-4239-8cce-750deae7f4ef" providerId="ADAL" clId="{0FDC7236-0C66-43F6-99AF-1100E6B9ED67}" dt="2022-10-26T12:31:58.644" v="1951" actId="164"/>
          <ac:spMkLst>
            <pc:docMk/>
            <pc:sldMk cId="3687160151" sldId="263"/>
            <ac:spMk id="8" creationId="{2C5C0222-8E29-467D-815E-F4A770765306}"/>
          </ac:spMkLst>
        </pc:spChg>
        <pc:spChg chg="mod topLvl">
          <ac:chgData name="Ettore Minelli" userId="7870a1ad-01cf-4239-8cce-750deae7f4ef" providerId="ADAL" clId="{0FDC7236-0C66-43F6-99AF-1100E6B9ED67}" dt="2022-10-26T12:31:58.644" v="1951" actId="164"/>
          <ac:spMkLst>
            <pc:docMk/>
            <pc:sldMk cId="3687160151" sldId="263"/>
            <ac:spMk id="9" creationId="{02406C69-FB5C-4302-BB55-1AF53411C566}"/>
          </ac:spMkLst>
        </pc:spChg>
        <pc:spChg chg="mod topLvl">
          <ac:chgData name="Ettore Minelli" userId="7870a1ad-01cf-4239-8cce-750deae7f4ef" providerId="ADAL" clId="{0FDC7236-0C66-43F6-99AF-1100E6B9ED67}" dt="2022-10-26T12:31:58.644" v="1951" actId="164"/>
          <ac:spMkLst>
            <pc:docMk/>
            <pc:sldMk cId="3687160151" sldId="263"/>
            <ac:spMk id="10" creationId="{E76DB264-CF49-4D60-B6F0-75E75DC490A9}"/>
          </ac:spMkLst>
        </pc:spChg>
        <pc:spChg chg="mod topLvl">
          <ac:chgData name="Ettore Minelli" userId="7870a1ad-01cf-4239-8cce-750deae7f4ef" providerId="ADAL" clId="{0FDC7236-0C66-43F6-99AF-1100E6B9ED67}" dt="2022-10-26T12:31:58.644" v="1951" actId="164"/>
          <ac:spMkLst>
            <pc:docMk/>
            <pc:sldMk cId="3687160151" sldId="263"/>
            <ac:spMk id="11" creationId="{116DA784-B05F-474C-BF47-22B9E785E283}"/>
          </ac:spMkLst>
        </pc:spChg>
        <pc:spChg chg="mod topLvl">
          <ac:chgData name="Ettore Minelli" userId="7870a1ad-01cf-4239-8cce-750deae7f4ef" providerId="ADAL" clId="{0FDC7236-0C66-43F6-99AF-1100E6B9ED67}" dt="2022-10-26T12:31:58.644" v="1951" actId="164"/>
          <ac:spMkLst>
            <pc:docMk/>
            <pc:sldMk cId="3687160151" sldId="263"/>
            <ac:spMk id="14" creationId="{8483D584-A128-4D6F-8134-F28186E0998D}"/>
          </ac:spMkLst>
        </pc:spChg>
        <pc:spChg chg="del mod topLvl">
          <ac:chgData name="Ettore Minelli" userId="7870a1ad-01cf-4239-8cce-750deae7f4ef" providerId="ADAL" clId="{0FDC7236-0C66-43F6-99AF-1100E6B9ED67}" dt="2022-10-26T12:25:17.655" v="1875" actId="478"/>
          <ac:spMkLst>
            <pc:docMk/>
            <pc:sldMk cId="3687160151" sldId="263"/>
            <ac:spMk id="17" creationId="{72B2E86C-7A96-4DA6-9E17-8148D7D795CD}"/>
          </ac:spMkLst>
        </pc:spChg>
        <pc:spChg chg="del mod topLvl">
          <ac:chgData name="Ettore Minelli" userId="7870a1ad-01cf-4239-8cce-750deae7f4ef" providerId="ADAL" clId="{0FDC7236-0C66-43F6-99AF-1100E6B9ED67}" dt="2022-10-26T12:25:19.188" v="1876" actId="478"/>
          <ac:spMkLst>
            <pc:docMk/>
            <pc:sldMk cId="3687160151" sldId="263"/>
            <ac:spMk id="18" creationId="{25AF66B8-47A4-4DEB-AC54-62FB14405A2B}"/>
          </ac:spMkLst>
        </pc:spChg>
        <pc:spChg chg="del mod">
          <ac:chgData name="Ettore Minelli" userId="7870a1ad-01cf-4239-8cce-750deae7f4ef" providerId="ADAL" clId="{0FDC7236-0C66-43F6-99AF-1100E6B9ED67}" dt="2022-10-26T12:22:13.563" v="1821" actId="478"/>
          <ac:spMkLst>
            <pc:docMk/>
            <pc:sldMk cId="3687160151" sldId="263"/>
            <ac:spMk id="19" creationId="{50A5913A-8641-4AD4-89FE-F15BBA2561C8}"/>
          </ac:spMkLst>
        </pc:spChg>
        <pc:spChg chg="mod topLvl">
          <ac:chgData name="Ettore Minelli" userId="7870a1ad-01cf-4239-8cce-750deae7f4ef" providerId="ADAL" clId="{0FDC7236-0C66-43F6-99AF-1100E6B9ED67}" dt="2022-10-26T12:31:58.644" v="1951" actId="164"/>
          <ac:spMkLst>
            <pc:docMk/>
            <pc:sldMk cId="3687160151" sldId="263"/>
            <ac:spMk id="22" creationId="{758A5B7F-A7ED-4DC0-9510-7699AE6D31C8}"/>
          </ac:spMkLst>
        </pc:spChg>
        <pc:spChg chg="add del mod">
          <ac:chgData name="Ettore Minelli" userId="7870a1ad-01cf-4239-8cce-750deae7f4ef" providerId="ADAL" clId="{0FDC7236-0C66-43F6-99AF-1100E6B9ED67}" dt="2022-10-26T12:30:30.391" v="1934" actId="478"/>
          <ac:spMkLst>
            <pc:docMk/>
            <pc:sldMk cId="3687160151" sldId="263"/>
            <ac:spMk id="51" creationId="{6A7A4061-F437-4CC4-B094-48E3F70FB5F7}"/>
          </ac:spMkLst>
        </pc:spChg>
        <pc:spChg chg="add mod">
          <ac:chgData name="Ettore Minelli" userId="7870a1ad-01cf-4239-8cce-750deae7f4ef" providerId="ADAL" clId="{0FDC7236-0C66-43F6-99AF-1100E6B9ED67}" dt="2022-10-26T12:31:58.644" v="1951" actId="164"/>
          <ac:spMkLst>
            <pc:docMk/>
            <pc:sldMk cId="3687160151" sldId="263"/>
            <ac:spMk id="52" creationId="{95576F05-93A3-46D1-AA92-6CF5D1C2B8BA}"/>
          </ac:spMkLst>
        </pc:spChg>
        <pc:spChg chg="add mod">
          <ac:chgData name="Ettore Minelli" userId="7870a1ad-01cf-4239-8cce-750deae7f4ef" providerId="ADAL" clId="{0FDC7236-0C66-43F6-99AF-1100E6B9ED67}" dt="2022-10-26T12:31:58.644" v="1951" actId="164"/>
          <ac:spMkLst>
            <pc:docMk/>
            <pc:sldMk cId="3687160151" sldId="263"/>
            <ac:spMk id="53" creationId="{F8611143-94A2-4973-AC5F-53366CCE303E}"/>
          </ac:spMkLst>
        </pc:spChg>
        <pc:spChg chg="add mod">
          <ac:chgData name="Ettore Minelli" userId="7870a1ad-01cf-4239-8cce-750deae7f4ef" providerId="ADAL" clId="{0FDC7236-0C66-43F6-99AF-1100E6B9ED67}" dt="2022-10-26T12:31:58.644" v="1951" actId="164"/>
          <ac:spMkLst>
            <pc:docMk/>
            <pc:sldMk cId="3687160151" sldId="263"/>
            <ac:spMk id="54" creationId="{3FAF1877-A437-49CB-A848-78B8E0CB7604}"/>
          </ac:spMkLst>
        </pc:spChg>
        <pc:grpChg chg="add del mod">
          <ac:chgData name="Ettore Minelli" userId="7870a1ad-01cf-4239-8cce-750deae7f4ef" providerId="ADAL" clId="{0FDC7236-0C66-43F6-99AF-1100E6B9ED67}" dt="2022-10-26T12:24:24.954" v="1861" actId="165"/>
          <ac:grpSpMkLst>
            <pc:docMk/>
            <pc:sldMk cId="3687160151" sldId="263"/>
            <ac:grpSpMk id="3" creationId="{5C565509-135A-4658-AF31-182CB1DF15CF}"/>
          </ac:grpSpMkLst>
        </pc:grpChg>
        <pc:grpChg chg="add mod">
          <ac:chgData name="Ettore Minelli" userId="7870a1ad-01cf-4239-8cce-750deae7f4ef" providerId="ADAL" clId="{0FDC7236-0C66-43F6-99AF-1100E6B9ED67}" dt="2022-10-26T12:31:58.644" v="1951" actId="164"/>
          <ac:grpSpMkLst>
            <pc:docMk/>
            <pc:sldMk cId="3687160151" sldId="263"/>
            <ac:grpSpMk id="55" creationId="{7D97BC6F-0E1E-41BA-9E40-635948C27304}"/>
          </ac:grpSpMkLst>
        </pc:grpChg>
        <pc:picChg chg="add mod">
          <ac:chgData name="Ettore Minelli" userId="7870a1ad-01cf-4239-8cce-750deae7f4ef" providerId="ADAL" clId="{0FDC7236-0C66-43F6-99AF-1100E6B9ED67}" dt="2022-10-26T12:21:35.319" v="1816" actId="14100"/>
          <ac:picMkLst>
            <pc:docMk/>
            <pc:sldMk cId="3687160151" sldId="263"/>
            <ac:picMk id="2" creationId="{721DF05C-E81D-479A-93BD-2FD3C801C8B8}"/>
          </ac:picMkLst>
        </pc:picChg>
        <pc:cxnChg chg="mod topLvl">
          <ac:chgData name="Ettore Minelli" userId="7870a1ad-01cf-4239-8cce-750deae7f4ef" providerId="ADAL" clId="{0FDC7236-0C66-43F6-99AF-1100E6B9ED67}" dt="2022-10-26T12:31:58.644" v="1951" actId="164"/>
          <ac:cxnSpMkLst>
            <pc:docMk/>
            <pc:sldMk cId="3687160151" sldId="263"/>
            <ac:cxnSpMk id="4" creationId="{4DFECCD4-04F8-45A0-A75B-DD069E3D65A0}"/>
          </ac:cxnSpMkLst>
        </pc:cxnChg>
        <pc:cxnChg chg="mod topLvl">
          <ac:chgData name="Ettore Minelli" userId="7870a1ad-01cf-4239-8cce-750deae7f4ef" providerId="ADAL" clId="{0FDC7236-0C66-43F6-99AF-1100E6B9ED67}" dt="2022-10-26T12:31:58.644" v="1951" actId="164"/>
          <ac:cxnSpMkLst>
            <pc:docMk/>
            <pc:sldMk cId="3687160151" sldId="263"/>
            <ac:cxnSpMk id="5" creationId="{286C6610-36BD-4B4F-8C4D-BA3387BE49DF}"/>
          </ac:cxnSpMkLst>
        </pc:cxnChg>
        <pc:cxnChg chg="mod topLvl">
          <ac:chgData name="Ettore Minelli" userId="7870a1ad-01cf-4239-8cce-750deae7f4ef" providerId="ADAL" clId="{0FDC7236-0C66-43F6-99AF-1100E6B9ED67}" dt="2022-10-26T12:31:58.644" v="1951" actId="164"/>
          <ac:cxnSpMkLst>
            <pc:docMk/>
            <pc:sldMk cId="3687160151" sldId="263"/>
            <ac:cxnSpMk id="6" creationId="{E8C6CED5-7EC2-48BF-BB2C-25E7BEDEA281}"/>
          </ac:cxnSpMkLst>
        </pc:cxnChg>
        <pc:cxnChg chg="del mod topLvl">
          <ac:chgData name="Ettore Minelli" userId="7870a1ad-01cf-4239-8cce-750deae7f4ef" providerId="ADAL" clId="{0FDC7236-0C66-43F6-99AF-1100E6B9ED67}" dt="2022-10-26T12:25:14.455" v="1873" actId="478"/>
          <ac:cxnSpMkLst>
            <pc:docMk/>
            <pc:sldMk cId="3687160151" sldId="263"/>
            <ac:cxnSpMk id="12" creationId="{D9654818-31CD-4B75-ACFC-5B549441503B}"/>
          </ac:cxnSpMkLst>
        </pc:cxnChg>
        <pc:cxnChg chg="del mod topLvl">
          <ac:chgData name="Ettore Minelli" userId="7870a1ad-01cf-4239-8cce-750deae7f4ef" providerId="ADAL" clId="{0FDC7236-0C66-43F6-99AF-1100E6B9ED67}" dt="2022-10-26T12:25:06.288" v="1869" actId="478"/>
          <ac:cxnSpMkLst>
            <pc:docMk/>
            <pc:sldMk cId="3687160151" sldId="263"/>
            <ac:cxnSpMk id="13" creationId="{4D0DBD8F-B0CD-4423-A883-4A0C35486417}"/>
          </ac:cxnSpMkLst>
        </pc:cxnChg>
        <pc:cxnChg chg="mod topLvl">
          <ac:chgData name="Ettore Minelli" userId="7870a1ad-01cf-4239-8cce-750deae7f4ef" providerId="ADAL" clId="{0FDC7236-0C66-43F6-99AF-1100E6B9ED67}" dt="2022-10-26T12:31:58.644" v="1951" actId="164"/>
          <ac:cxnSpMkLst>
            <pc:docMk/>
            <pc:sldMk cId="3687160151" sldId="263"/>
            <ac:cxnSpMk id="15" creationId="{B562DB54-B1AF-4258-ACAA-85833D076F0B}"/>
          </ac:cxnSpMkLst>
        </pc:cxnChg>
        <pc:cxnChg chg="del mod topLvl">
          <ac:chgData name="Ettore Minelli" userId="7870a1ad-01cf-4239-8cce-750deae7f4ef" providerId="ADAL" clId="{0FDC7236-0C66-43F6-99AF-1100E6B9ED67}" dt="2022-10-26T12:25:12.846" v="1872" actId="478"/>
          <ac:cxnSpMkLst>
            <pc:docMk/>
            <pc:sldMk cId="3687160151" sldId="263"/>
            <ac:cxnSpMk id="16" creationId="{CFDE6D4D-5867-4C56-9C83-6A5D9823A34C}"/>
          </ac:cxnSpMkLst>
        </pc:cxnChg>
        <pc:cxnChg chg="del mod topLvl">
          <ac:chgData name="Ettore Minelli" userId="7870a1ad-01cf-4239-8cce-750deae7f4ef" providerId="ADAL" clId="{0FDC7236-0C66-43F6-99AF-1100E6B9ED67}" dt="2022-10-26T12:25:04.855" v="1868" actId="478"/>
          <ac:cxnSpMkLst>
            <pc:docMk/>
            <pc:sldMk cId="3687160151" sldId="263"/>
            <ac:cxnSpMk id="20" creationId="{7D0E34AA-1058-47D8-9786-E23202342583}"/>
          </ac:cxnSpMkLst>
        </pc:cxnChg>
        <pc:cxnChg chg="del mod topLvl">
          <ac:chgData name="Ettore Minelli" userId="7870a1ad-01cf-4239-8cce-750deae7f4ef" providerId="ADAL" clId="{0FDC7236-0C66-43F6-99AF-1100E6B9ED67}" dt="2022-10-26T12:25:16.055" v="1874" actId="478"/>
          <ac:cxnSpMkLst>
            <pc:docMk/>
            <pc:sldMk cId="3687160151" sldId="263"/>
            <ac:cxnSpMk id="21" creationId="{2C102216-B7AD-4469-9CAE-19E31E9B333C}"/>
          </ac:cxnSpMkLst>
        </pc:cxnChg>
        <pc:cxnChg chg="add mod">
          <ac:chgData name="Ettore Minelli" userId="7870a1ad-01cf-4239-8cce-750deae7f4ef" providerId="ADAL" clId="{0FDC7236-0C66-43F6-99AF-1100E6B9ED67}" dt="2022-10-26T12:31:58.644" v="1951" actId="164"/>
          <ac:cxnSpMkLst>
            <pc:docMk/>
            <pc:sldMk cId="3687160151" sldId="263"/>
            <ac:cxnSpMk id="25" creationId="{3045AE2F-58AF-4BEE-BECD-EF213F8A4D4F}"/>
          </ac:cxnSpMkLst>
        </pc:cxnChg>
        <pc:cxnChg chg="add mod">
          <ac:chgData name="Ettore Minelli" userId="7870a1ad-01cf-4239-8cce-750deae7f4ef" providerId="ADAL" clId="{0FDC7236-0C66-43F6-99AF-1100E6B9ED67}" dt="2022-10-26T12:31:58.644" v="1951" actId="164"/>
          <ac:cxnSpMkLst>
            <pc:docMk/>
            <pc:sldMk cId="3687160151" sldId="263"/>
            <ac:cxnSpMk id="27" creationId="{0D92BCEE-DB48-442A-8DAF-53BE24873ED4}"/>
          </ac:cxnSpMkLst>
        </pc:cxnChg>
        <pc:cxnChg chg="add del">
          <ac:chgData name="Ettore Minelli" userId="7870a1ad-01cf-4239-8cce-750deae7f4ef" providerId="ADAL" clId="{0FDC7236-0C66-43F6-99AF-1100E6B9ED67}" dt="2022-10-26T12:26:45.856" v="1892" actId="478"/>
          <ac:cxnSpMkLst>
            <pc:docMk/>
            <pc:sldMk cId="3687160151" sldId="263"/>
            <ac:cxnSpMk id="32" creationId="{C70D0ECA-7D0F-479E-A42B-740951E0952B}"/>
          </ac:cxnSpMkLst>
        </pc:cxnChg>
        <pc:cxnChg chg="add mod">
          <ac:chgData name="Ettore Minelli" userId="7870a1ad-01cf-4239-8cce-750deae7f4ef" providerId="ADAL" clId="{0FDC7236-0C66-43F6-99AF-1100E6B9ED67}" dt="2022-10-26T12:31:58.644" v="1951" actId="164"/>
          <ac:cxnSpMkLst>
            <pc:docMk/>
            <pc:sldMk cId="3687160151" sldId="263"/>
            <ac:cxnSpMk id="34" creationId="{E756FD6D-D997-43FE-9F9A-5AAFE53C5B2E}"/>
          </ac:cxnSpMkLst>
        </pc:cxnChg>
        <pc:cxnChg chg="add mod">
          <ac:chgData name="Ettore Minelli" userId="7870a1ad-01cf-4239-8cce-750deae7f4ef" providerId="ADAL" clId="{0FDC7236-0C66-43F6-99AF-1100E6B9ED67}" dt="2022-10-26T12:31:58.644" v="1951" actId="164"/>
          <ac:cxnSpMkLst>
            <pc:docMk/>
            <pc:sldMk cId="3687160151" sldId="263"/>
            <ac:cxnSpMk id="36" creationId="{FDDB0A38-6D4E-4E51-8026-3BA488D7B09C}"/>
          </ac:cxnSpMkLst>
        </pc:cxnChg>
        <pc:cxnChg chg="add mod">
          <ac:chgData name="Ettore Minelli" userId="7870a1ad-01cf-4239-8cce-750deae7f4ef" providerId="ADAL" clId="{0FDC7236-0C66-43F6-99AF-1100E6B9ED67}" dt="2022-10-26T12:31:58.644" v="1951" actId="164"/>
          <ac:cxnSpMkLst>
            <pc:docMk/>
            <pc:sldMk cId="3687160151" sldId="263"/>
            <ac:cxnSpMk id="38" creationId="{65B978E1-8AF7-440F-8A60-3D173A70FAB4}"/>
          </ac:cxnSpMkLst>
        </pc:cxnChg>
        <pc:cxnChg chg="add mod">
          <ac:chgData name="Ettore Minelli" userId="7870a1ad-01cf-4239-8cce-750deae7f4ef" providerId="ADAL" clId="{0FDC7236-0C66-43F6-99AF-1100E6B9ED67}" dt="2022-10-26T12:31:58.644" v="1951" actId="164"/>
          <ac:cxnSpMkLst>
            <pc:docMk/>
            <pc:sldMk cId="3687160151" sldId="263"/>
            <ac:cxnSpMk id="40" creationId="{7086F7A5-0BB4-4EA1-8D76-89E20321CACA}"/>
          </ac:cxnSpMkLst>
        </pc:cxnChg>
        <pc:cxnChg chg="add mod">
          <ac:chgData name="Ettore Minelli" userId="7870a1ad-01cf-4239-8cce-750deae7f4ef" providerId="ADAL" clId="{0FDC7236-0C66-43F6-99AF-1100E6B9ED67}" dt="2022-10-26T12:31:58.644" v="1951" actId="164"/>
          <ac:cxnSpMkLst>
            <pc:docMk/>
            <pc:sldMk cId="3687160151" sldId="263"/>
            <ac:cxnSpMk id="43" creationId="{5D5215B0-7877-49A7-8DB7-E4E67C6FDE38}"/>
          </ac:cxnSpMkLst>
        </pc:cxnChg>
        <pc:cxnChg chg="add mod">
          <ac:chgData name="Ettore Minelli" userId="7870a1ad-01cf-4239-8cce-750deae7f4ef" providerId="ADAL" clId="{0FDC7236-0C66-43F6-99AF-1100E6B9ED67}" dt="2022-10-26T12:31:58.644" v="1951" actId="164"/>
          <ac:cxnSpMkLst>
            <pc:docMk/>
            <pc:sldMk cId="3687160151" sldId="263"/>
            <ac:cxnSpMk id="47" creationId="{41ED6A00-0CDF-4C67-92B2-37089262EA0C}"/>
          </ac:cxnSpMkLst>
        </pc:cxnChg>
        <pc:cxnChg chg="add mod">
          <ac:chgData name="Ettore Minelli" userId="7870a1ad-01cf-4239-8cce-750deae7f4ef" providerId="ADAL" clId="{0FDC7236-0C66-43F6-99AF-1100E6B9ED67}" dt="2022-10-26T12:31:58.644" v="1951" actId="164"/>
          <ac:cxnSpMkLst>
            <pc:docMk/>
            <pc:sldMk cId="3687160151" sldId="263"/>
            <ac:cxnSpMk id="50" creationId="{1D3CA520-A38B-4A9A-B73F-3D829859CD72}"/>
          </ac:cxnSpMkLst>
        </pc:cxnChg>
      </pc:sldChg>
      <pc:sldChg chg="addSp delSp modSp new mod">
        <pc:chgData name="Ettore Minelli" userId="7870a1ad-01cf-4239-8cce-750deae7f4ef" providerId="ADAL" clId="{0FDC7236-0C66-43F6-99AF-1100E6B9ED67}" dt="2022-10-26T16:38:30.082" v="2143" actId="14100"/>
        <pc:sldMkLst>
          <pc:docMk/>
          <pc:sldMk cId="200803706" sldId="264"/>
        </pc:sldMkLst>
        <pc:spChg chg="add del mod">
          <ac:chgData name="Ettore Minelli" userId="7870a1ad-01cf-4239-8cce-750deae7f4ef" providerId="ADAL" clId="{0FDC7236-0C66-43F6-99AF-1100E6B9ED67}" dt="2022-10-26T13:08:54.817" v="1977" actId="478"/>
          <ac:spMkLst>
            <pc:docMk/>
            <pc:sldMk cId="200803706" sldId="264"/>
            <ac:spMk id="2" creationId="{0C660FBA-7022-4190-B851-F5F48BC80C17}"/>
          </ac:spMkLst>
        </pc:spChg>
        <pc:spChg chg="add mod">
          <ac:chgData name="Ettore Minelli" userId="7870a1ad-01cf-4239-8cce-750deae7f4ef" providerId="ADAL" clId="{0FDC7236-0C66-43F6-99AF-1100E6B9ED67}" dt="2022-10-26T16:30:59.733" v="2132" actId="164"/>
          <ac:spMkLst>
            <pc:docMk/>
            <pc:sldMk cId="200803706" sldId="264"/>
            <ac:spMk id="2" creationId="{D5D94944-495E-4165-A1C1-489ACBED3A00}"/>
          </ac:spMkLst>
        </pc:spChg>
        <pc:spChg chg="add del">
          <ac:chgData name="Ettore Minelli" userId="7870a1ad-01cf-4239-8cce-750deae7f4ef" providerId="ADAL" clId="{0FDC7236-0C66-43F6-99AF-1100E6B9ED67}" dt="2022-10-26T16:24:37.355" v="1986" actId="478"/>
          <ac:spMkLst>
            <pc:docMk/>
            <pc:sldMk cId="200803706" sldId="264"/>
            <ac:spMk id="3" creationId="{0DF96418-12A3-476D-8B91-CF680B752C41}"/>
          </ac:spMkLst>
        </pc:spChg>
        <pc:spChg chg="add del mod">
          <ac:chgData name="Ettore Minelli" userId="7870a1ad-01cf-4239-8cce-750deae7f4ef" providerId="ADAL" clId="{0FDC7236-0C66-43F6-99AF-1100E6B9ED67}" dt="2022-10-26T13:08:54.817" v="1977" actId="478"/>
          <ac:spMkLst>
            <pc:docMk/>
            <pc:sldMk cId="200803706" sldId="264"/>
            <ac:spMk id="3" creationId="{C3EF8A48-2A21-4C96-86E3-653E22A298FB}"/>
          </ac:spMkLst>
        </pc:spChg>
        <pc:spChg chg="add del">
          <ac:chgData name="Ettore Minelli" userId="7870a1ad-01cf-4239-8cce-750deae7f4ef" providerId="ADAL" clId="{0FDC7236-0C66-43F6-99AF-1100E6B9ED67}" dt="2022-10-26T16:24:56.213" v="1988" actId="11529"/>
          <ac:spMkLst>
            <pc:docMk/>
            <pc:sldMk cId="200803706" sldId="264"/>
            <ac:spMk id="4" creationId="{8F6D0952-42A6-4E19-AF0E-AE265E388EFB}"/>
          </ac:spMkLst>
        </pc:spChg>
        <pc:spChg chg="add del mod">
          <ac:chgData name="Ettore Minelli" userId="7870a1ad-01cf-4239-8cce-750deae7f4ef" providerId="ADAL" clId="{0FDC7236-0C66-43F6-99AF-1100E6B9ED67}" dt="2022-10-26T13:08:54.817" v="1977" actId="478"/>
          <ac:spMkLst>
            <pc:docMk/>
            <pc:sldMk cId="200803706" sldId="264"/>
            <ac:spMk id="4" creationId="{9FFB73BF-184D-44FE-A00C-FA75952FF4F1}"/>
          </ac:spMkLst>
        </pc:spChg>
        <pc:spChg chg="add del mod">
          <ac:chgData name="Ettore Minelli" userId="7870a1ad-01cf-4239-8cce-750deae7f4ef" providerId="ADAL" clId="{0FDC7236-0C66-43F6-99AF-1100E6B9ED67}" dt="2022-10-26T13:08:54.817" v="1977" actId="478"/>
          <ac:spMkLst>
            <pc:docMk/>
            <pc:sldMk cId="200803706" sldId="264"/>
            <ac:spMk id="5" creationId="{44CD5B66-AEBC-4F18-A190-F56BA80E05FD}"/>
          </ac:spMkLst>
        </pc:spChg>
        <pc:spChg chg="add mod">
          <ac:chgData name="Ettore Minelli" userId="7870a1ad-01cf-4239-8cce-750deae7f4ef" providerId="ADAL" clId="{0FDC7236-0C66-43F6-99AF-1100E6B9ED67}" dt="2022-10-26T16:30:59.733" v="2132" actId="164"/>
          <ac:spMkLst>
            <pc:docMk/>
            <pc:sldMk cId="200803706" sldId="264"/>
            <ac:spMk id="5" creationId="{7EE59CD5-D09C-464B-9554-D24B2A986413}"/>
          </ac:spMkLst>
        </pc:spChg>
        <pc:spChg chg="add del mod">
          <ac:chgData name="Ettore Minelli" userId="7870a1ad-01cf-4239-8cce-750deae7f4ef" providerId="ADAL" clId="{0FDC7236-0C66-43F6-99AF-1100E6B9ED67}" dt="2022-10-26T13:09:10.583" v="1981" actId="478"/>
          <ac:spMkLst>
            <pc:docMk/>
            <pc:sldMk cId="200803706" sldId="264"/>
            <ac:spMk id="6" creationId="{1729E4FB-CCC0-471B-965E-8A1BBA96A07C}"/>
          </ac:spMkLst>
        </pc:spChg>
        <pc:spChg chg="add del">
          <ac:chgData name="Ettore Minelli" userId="7870a1ad-01cf-4239-8cce-750deae7f4ef" providerId="ADAL" clId="{0FDC7236-0C66-43F6-99AF-1100E6B9ED67}" dt="2022-10-26T16:25:45.169" v="1993" actId="478"/>
          <ac:spMkLst>
            <pc:docMk/>
            <pc:sldMk cId="200803706" sldId="264"/>
            <ac:spMk id="6" creationId="{30436F8A-A975-4C04-B5B4-388B3A898AF9}"/>
          </ac:spMkLst>
        </pc:spChg>
        <pc:spChg chg="add del">
          <ac:chgData name="Ettore Minelli" userId="7870a1ad-01cf-4239-8cce-750deae7f4ef" providerId="ADAL" clId="{0FDC7236-0C66-43F6-99AF-1100E6B9ED67}" dt="2022-10-26T16:26:05.115" v="1995" actId="478"/>
          <ac:spMkLst>
            <pc:docMk/>
            <pc:sldMk cId="200803706" sldId="264"/>
            <ac:spMk id="7" creationId="{A4F89B9D-FA62-4FE9-A91E-7FC580D2A9AA}"/>
          </ac:spMkLst>
        </pc:spChg>
        <pc:spChg chg="add mod">
          <ac:chgData name="Ettore Minelli" userId="7870a1ad-01cf-4239-8cce-750deae7f4ef" providerId="ADAL" clId="{0FDC7236-0C66-43F6-99AF-1100E6B9ED67}" dt="2022-10-26T16:30:59.733" v="2132" actId="164"/>
          <ac:spMkLst>
            <pc:docMk/>
            <pc:sldMk cId="200803706" sldId="264"/>
            <ac:spMk id="8" creationId="{9808B458-A10B-451B-95C5-D9A44BEE0D99}"/>
          </ac:spMkLst>
        </pc:spChg>
        <pc:spChg chg="add mod">
          <ac:chgData name="Ettore Minelli" userId="7870a1ad-01cf-4239-8cce-750deae7f4ef" providerId="ADAL" clId="{0FDC7236-0C66-43F6-99AF-1100E6B9ED67}" dt="2022-10-26T16:30:59.733" v="2132" actId="164"/>
          <ac:spMkLst>
            <pc:docMk/>
            <pc:sldMk cId="200803706" sldId="264"/>
            <ac:spMk id="9" creationId="{7AB02B22-E055-436D-BF44-2A8EFE44F63F}"/>
          </ac:spMkLst>
        </pc:spChg>
        <pc:spChg chg="add mod">
          <ac:chgData name="Ettore Minelli" userId="7870a1ad-01cf-4239-8cce-750deae7f4ef" providerId="ADAL" clId="{0FDC7236-0C66-43F6-99AF-1100E6B9ED67}" dt="2022-10-26T16:38:30.082" v="2143" actId="14100"/>
          <ac:spMkLst>
            <pc:docMk/>
            <pc:sldMk cId="200803706" sldId="264"/>
            <ac:spMk id="10" creationId="{22484C46-F70A-493C-8758-2A4D607D08BD}"/>
          </ac:spMkLst>
        </pc:spChg>
        <pc:spChg chg="add mod">
          <ac:chgData name="Ettore Minelli" userId="7870a1ad-01cf-4239-8cce-750deae7f4ef" providerId="ADAL" clId="{0FDC7236-0C66-43F6-99AF-1100E6B9ED67}" dt="2022-10-26T16:30:59.733" v="2132" actId="164"/>
          <ac:spMkLst>
            <pc:docMk/>
            <pc:sldMk cId="200803706" sldId="264"/>
            <ac:spMk id="11" creationId="{8707BA65-1AB1-4D03-B20B-C68B8B1BAFDA}"/>
          </ac:spMkLst>
        </pc:spChg>
        <pc:spChg chg="add mod">
          <ac:chgData name="Ettore Minelli" userId="7870a1ad-01cf-4239-8cce-750deae7f4ef" providerId="ADAL" clId="{0FDC7236-0C66-43F6-99AF-1100E6B9ED67}" dt="2022-10-26T16:38:22.699" v="2141" actId="14100"/>
          <ac:spMkLst>
            <pc:docMk/>
            <pc:sldMk cId="200803706" sldId="264"/>
            <ac:spMk id="12" creationId="{B06D9A9D-778B-4500-A08F-0250A51B195E}"/>
          </ac:spMkLst>
        </pc:spChg>
        <pc:spChg chg="add mod">
          <ac:chgData name="Ettore Minelli" userId="7870a1ad-01cf-4239-8cce-750deae7f4ef" providerId="ADAL" clId="{0FDC7236-0C66-43F6-99AF-1100E6B9ED67}" dt="2022-10-26T16:38:19.987" v="2140" actId="14100"/>
          <ac:spMkLst>
            <pc:docMk/>
            <pc:sldMk cId="200803706" sldId="264"/>
            <ac:spMk id="13" creationId="{1B4D36D7-307F-4D6A-B8C9-877CB4CE4C14}"/>
          </ac:spMkLst>
        </pc:spChg>
        <pc:spChg chg="add mod">
          <ac:chgData name="Ettore Minelli" userId="7870a1ad-01cf-4239-8cce-750deae7f4ef" providerId="ADAL" clId="{0FDC7236-0C66-43F6-99AF-1100E6B9ED67}" dt="2022-10-26T16:38:16.851" v="2139" actId="1076"/>
          <ac:spMkLst>
            <pc:docMk/>
            <pc:sldMk cId="200803706" sldId="264"/>
            <ac:spMk id="14" creationId="{647C9D4A-967F-479F-BF76-C8DE364820E3}"/>
          </ac:spMkLst>
        </pc:spChg>
        <pc:grpChg chg="add mod">
          <ac:chgData name="Ettore Minelli" userId="7870a1ad-01cf-4239-8cce-750deae7f4ef" providerId="ADAL" clId="{0FDC7236-0C66-43F6-99AF-1100E6B9ED67}" dt="2022-10-26T16:38:12.154" v="2137" actId="255"/>
          <ac:grpSpMkLst>
            <pc:docMk/>
            <pc:sldMk cId="200803706" sldId="264"/>
            <ac:grpSpMk id="15" creationId="{D3C947A9-D4DF-49BB-9737-E800C6282B98}"/>
          </ac:grpSpMkLst>
        </pc:grpChg>
      </pc:sldChg>
      <pc:sldChg chg="addSp delSp modSp new mod">
        <pc:chgData name="Ettore Minelli" userId="7870a1ad-01cf-4239-8cce-750deae7f4ef" providerId="ADAL" clId="{0FDC7236-0C66-43F6-99AF-1100E6B9ED67}" dt="2022-10-27T13:25:24.711" v="2991" actId="255"/>
        <pc:sldMkLst>
          <pc:docMk/>
          <pc:sldMk cId="4106461626" sldId="265"/>
        </pc:sldMkLst>
        <pc:spChg chg="add 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2" creationId="{F71872F1-5058-4BF7-B524-267BF8BB8568}"/>
          </ac:spMkLst>
        </pc:spChg>
        <pc:spChg chg="add del mod topLvl">
          <ac:chgData name="Ettore Minelli" userId="7870a1ad-01cf-4239-8cce-750deae7f4ef" providerId="ADAL" clId="{0FDC7236-0C66-43F6-99AF-1100E6B9ED67}" dt="2022-10-27T10:32:17.766" v="2481" actId="478"/>
          <ac:spMkLst>
            <pc:docMk/>
            <pc:sldMk cId="4106461626" sldId="265"/>
            <ac:spMk id="3" creationId="{177D6370-FAED-4082-A250-58A7B385DF72}"/>
          </ac:spMkLst>
        </pc:spChg>
        <pc:spChg chg="add del mod topLvl">
          <ac:chgData name="Ettore Minelli" userId="7870a1ad-01cf-4239-8cce-750deae7f4ef" providerId="ADAL" clId="{0FDC7236-0C66-43F6-99AF-1100E6B9ED67}" dt="2022-10-27T10:36:46.889" v="2545" actId="478"/>
          <ac:spMkLst>
            <pc:docMk/>
            <pc:sldMk cId="4106461626" sldId="265"/>
            <ac:spMk id="4" creationId="{1939D8EE-44E3-4105-B55F-26BD11E47D79}"/>
          </ac:spMkLst>
        </pc:spChg>
        <pc:spChg chg="add del mod topLvl">
          <ac:chgData name="Ettore Minelli" userId="7870a1ad-01cf-4239-8cce-750deae7f4ef" providerId="ADAL" clId="{0FDC7236-0C66-43F6-99AF-1100E6B9ED67}" dt="2022-10-27T10:44:17.910" v="2605" actId="478"/>
          <ac:spMkLst>
            <pc:docMk/>
            <pc:sldMk cId="4106461626" sldId="265"/>
            <ac:spMk id="5" creationId="{55576273-099A-464F-9FAC-A6D7D768F63A}"/>
          </ac:spMkLst>
        </pc:spChg>
        <pc:spChg chg="add 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6" creationId="{E6ACC817-A26A-4C06-BBB9-7EABEB1F9C81}"/>
          </ac:spMkLst>
        </pc:spChg>
        <pc:spChg chg="add 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7" creationId="{C4F33091-E36B-4381-BAD9-54B09A5D496C}"/>
          </ac:spMkLst>
        </pc:spChg>
        <pc:spChg chg="add mod topLvl">
          <ac:chgData name="Ettore Minelli" userId="7870a1ad-01cf-4239-8cce-750deae7f4ef" providerId="ADAL" clId="{0FDC7236-0C66-43F6-99AF-1100E6B9ED67}" dt="2022-10-27T13:25:24.711" v="2991" actId="255"/>
          <ac:spMkLst>
            <pc:docMk/>
            <pc:sldMk cId="4106461626" sldId="265"/>
            <ac:spMk id="8" creationId="{997C2BFF-616C-42B1-BEB8-CC096EA9A3F0}"/>
          </ac:spMkLst>
        </pc:spChg>
        <pc:spChg chg="add mod topLvl">
          <ac:chgData name="Ettore Minelli" userId="7870a1ad-01cf-4239-8cce-750deae7f4ef" providerId="ADAL" clId="{0FDC7236-0C66-43F6-99AF-1100E6B9ED67}" dt="2022-10-27T13:25:24.711" v="2991" actId="255"/>
          <ac:spMkLst>
            <pc:docMk/>
            <pc:sldMk cId="4106461626" sldId="265"/>
            <ac:spMk id="9" creationId="{D94A27CF-DA00-4366-A6C7-76B9C69C108C}"/>
          </ac:spMkLst>
        </pc:spChg>
        <pc:spChg chg="add mod topLvl">
          <ac:chgData name="Ettore Minelli" userId="7870a1ad-01cf-4239-8cce-750deae7f4ef" providerId="ADAL" clId="{0FDC7236-0C66-43F6-99AF-1100E6B9ED67}" dt="2022-10-27T13:25:24.711" v="2991" actId="255"/>
          <ac:spMkLst>
            <pc:docMk/>
            <pc:sldMk cId="4106461626" sldId="265"/>
            <ac:spMk id="10" creationId="{C758EE99-0A48-4728-91F2-76FB72BE0832}"/>
          </ac:spMkLst>
        </pc:spChg>
        <pc:spChg chg="add del">
          <ac:chgData name="Ettore Minelli" userId="7870a1ad-01cf-4239-8cce-750deae7f4ef" providerId="ADAL" clId="{0FDC7236-0C66-43F6-99AF-1100E6B9ED67}" dt="2022-10-27T10:17:48.860" v="2234" actId="11529"/>
          <ac:spMkLst>
            <pc:docMk/>
            <pc:sldMk cId="4106461626" sldId="265"/>
            <ac:spMk id="14" creationId="{A9B35AEE-6E58-4B92-B96D-8C090D96EA3D}"/>
          </ac:spMkLst>
        </pc:spChg>
        <pc:spChg chg="add mod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15" creationId="{D8D119E6-E0A9-4033-B749-503DD3FB64D3}"/>
          </ac:spMkLst>
        </pc:spChg>
        <pc:spChg chg="add mod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16" creationId="{851D1F5A-A2B1-4813-BB13-DF1D1D54F134}"/>
          </ac:spMkLst>
        </pc:spChg>
        <pc:spChg chg="add mod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17" creationId="{93840BA8-CF80-4CB4-A50E-7974987CFFAB}"/>
          </ac:spMkLst>
        </pc:spChg>
        <pc:spChg chg="mod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29" creationId="{ADFBA93C-389C-4432-B629-37623ED6B382}"/>
          </ac:spMkLst>
        </pc:spChg>
        <pc:spChg chg="mod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30" creationId="{0495E2B9-ED66-47E4-AF37-633BB4BED6CB}"/>
          </ac:spMkLst>
        </pc:spChg>
        <pc:spChg chg="mod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31" creationId="{FEBBD8F7-F7E8-44C7-9D55-5336E971194B}"/>
          </ac:spMkLst>
        </pc:spChg>
        <pc:spChg chg="mod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35" creationId="{4F1EA00D-B37B-410E-8F0F-99AC1AB9436C}"/>
          </ac:spMkLst>
        </pc:spChg>
        <pc:spChg chg="mod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36" creationId="{27C1BB79-C7A7-4C0D-AFBE-4B01C5CD656A}"/>
          </ac:spMkLst>
        </pc:spChg>
        <pc:spChg chg="mod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37" creationId="{FCBE3C8F-EFAB-45AF-83C9-6F43A76D3832}"/>
          </ac:spMkLst>
        </pc:spChg>
        <pc:spChg chg="mod">
          <ac:chgData name="Ettore Minelli" userId="7870a1ad-01cf-4239-8cce-750deae7f4ef" providerId="ADAL" clId="{0FDC7236-0C66-43F6-99AF-1100E6B9ED67}" dt="2022-10-27T10:24:21.466" v="2271"/>
          <ac:spMkLst>
            <pc:docMk/>
            <pc:sldMk cId="4106461626" sldId="265"/>
            <ac:spMk id="41" creationId="{D93B973F-00BF-4D5B-B0C7-66A0BD36E504}"/>
          </ac:spMkLst>
        </pc:spChg>
        <pc:spChg chg="mod">
          <ac:chgData name="Ettore Minelli" userId="7870a1ad-01cf-4239-8cce-750deae7f4ef" providerId="ADAL" clId="{0FDC7236-0C66-43F6-99AF-1100E6B9ED67}" dt="2022-10-27T10:24:21.466" v="2271"/>
          <ac:spMkLst>
            <pc:docMk/>
            <pc:sldMk cId="4106461626" sldId="265"/>
            <ac:spMk id="42" creationId="{5114436E-824A-414B-BD6E-AC29388EC902}"/>
          </ac:spMkLst>
        </pc:spChg>
        <pc:spChg chg="mod">
          <ac:chgData name="Ettore Minelli" userId="7870a1ad-01cf-4239-8cce-750deae7f4ef" providerId="ADAL" clId="{0FDC7236-0C66-43F6-99AF-1100E6B9ED67}" dt="2022-10-27T10:24:21.466" v="2271"/>
          <ac:spMkLst>
            <pc:docMk/>
            <pc:sldMk cId="4106461626" sldId="265"/>
            <ac:spMk id="43" creationId="{C4E8B2B7-53FD-43C6-9A73-CDC2A2C4B4EF}"/>
          </ac:spMkLst>
        </pc:spChg>
        <pc:spChg chg="mod">
          <ac:chgData name="Ettore Minelli" userId="7870a1ad-01cf-4239-8cce-750deae7f4ef" providerId="ADAL" clId="{0FDC7236-0C66-43F6-99AF-1100E6B9ED67}" dt="2022-10-27T10:24:36.366" v="2274"/>
          <ac:spMkLst>
            <pc:docMk/>
            <pc:sldMk cId="4106461626" sldId="265"/>
            <ac:spMk id="47" creationId="{463D4480-4FD2-47B4-B868-7C9F1B6529DE}"/>
          </ac:spMkLst>
        </pc:spChg>
        <pc:spChg chg="mod">
          <ac:chgData name="Ettore Minelli" userId="7870a1ad-01cf-4239-8cce-750deae7f4ef" providerId="ADAL" clId="{0FDC7236-0C66-43F6-99AF-1100E6B9ED67}" dt="2022-10-27T10:24:36.366" v="2274"/>
          <ac:spMkLst>
            <pc:docMk/>
            <pc:sldMk cId="4106461626" sldId="265"/>
            <ac:spMk id="48" creationId="{3D08CB47-C9B8-468E-9CBD-58825D566BDB}"/>
          </ac:spMkLst>
        </pc:spChg>
        <pc:spChg chg="mod">
          <ac:chgData name="Ettore Minelli" userId="7870a1ad-01cf-4239-8cce-750deae7f4ef" providerId="ADAL" clId="{0FDC7236-0C66-43F6-99AF-1100E6B9ED67}" dt="2022-10-27T10:24:36.366" v="2274"/>
          <ac:spMkLst>
            <pc:docMk/>
            <pc:sldMk cId="4106461626" sldId="265"/>
            <ac:spMk id="49" creationId="{51780D80-7AA7-4A54-9658-F810F9EE9511}"/>
          </ac:spMkLst>
        </pc:spChg>
        <pc:spChg chg="add del mod ord">
          <ac:chgData name="Ettore Minelli" userId="7870a1ad-01cf-4239-8cce-750deae7f4ef" providerId="ADAL" clId="{0FDC7236-0C66-43F6-99AF-1100E6B9ED67}" dt="2022-10-27T10:29:38.723" v="2373" actId="478"/>
          <ac:spMkLst>
            <pc:docMk/>
            <pc:sldMk cId="4106461626" sldId="265"/>
            <ac:spMk id="53" creationId="{BD92F537-C68F-4B1F-A9E2-1BBBE93F7018}"/>
          </ac:spMkLst>
        </pc:spChg>
        <pc:spChg chg="add mod topLvl">
          <ac:chgData name="Ettore Minelli" userId="7870a1ad-01cf-4239-8cce-750deae7f4ef" providerId="ADAL" clId="{0FDC7236-0C66-43F6-99AF-1100E6B9ED67}" dt="2022-10-27T13:20:07.940" v="2907" actId="20577"/>
          <ac:spMkLst>
            <pc:docMk/>
            <pc:sldMk cId="4106461626" sldId="265"/>
            <ac:spMk id="57" creationId="{7DBB925F-9C66-4C16-A176-5699D17DFE32}"/>
          </ac:spMkLst>
        </pc:spChg>
        <pc:spChg chg="add mod topLvl">
          <ac:chgData name="Ettore Minelli" userId="7870a1ad-01cf-4239-8cce-750deae7f4ef" providerId="ADAL" clId="{0FDC7236-0C66-43F6-99AF-1100E6B9ED67}" dt="2022-10-27T13:20:24.357" v="2942" actId="20577"/>
          <ac:spMkLst>
            <pc:docMk/>
            <pc:sldMk cId="4106461626" sldId="265"/>
            <ac:spMk id="58" creationId="{7E037D3A-B2A7-4C7D-BB91-560D31598210}"/>
          </ac:spMkLst>
        </pc:spChg>
        <pc:spChg chg="add mod topLvl">
          <ac:chgData name="Ettore Minelli" userId="7870a1ad-01cf-4239-8cce-750deae7f4ef" providerId="ADAL" clId="{0FDC7236-0C66-43F6-99AF-1100E6B9ED67}" dt="2022-10-27T13:20:56.722" v="2989" actId="20577"/>
          <ac:spMkLst>
            <pc:docMk/>
            <pc:sldMk cId="4106461626" sldId="265"/>
            <ac:spMk id="59" creationId="{1672F150-7FF0-428E-B5B7-EB937EA481C2}"/>
          </ac:spMkLst>
        </pc:spChg>
        <pc:spChg chg="add del mod">
          <ac:chgData name="Ettore Minelli" userId="7870a1ad-01cf-4239-8cce-750deae7f4ef" providerId="ADAL" clId="{0FDC7236-0C66-43F6-99AF-1100E6B9ED67}" dt="2022-10-27T10:32:37.047" v="2484" actId="478"/>
          <ac:spMkLst>
            <pc:docMk/>
            <pc:sldMk cId="4106461626" sldId="265"/>
            <ac:spMk id="60" creationId="{D267C8E8-F2F6-474D-9BFE-0444CF0D0F92}"/>
          </ac:spMkLst>
        </pc:spChg>
        <pc:spChg chg="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63" creationId="{247B7E78-2B10-46BA-9F94-D467CEB87037}"/>
          </ac:spMkLst>
        </pc:spChg>
        <pc:spChg chg="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64" creationId="{DB4B5E6F-8D3E-4786-8AAE-544D9D5B2640}"/>
          </ac:spMkLst>
        </pc:spChg>
        <pc:spChg chg="mod topLvl">
          <ac:chgData name="Ettore Minelli" userId="7870a1ad-01cf-4239-8cce-750deae7f4ef" providerId="ADAL" clId="{0FDC7236-0C66-43F6-99AF-1100E6B9ED67}" dt="2022-10-27T13:25:24.711" v="2991" actId="255"/>
          <ac:spMkLst>
            <pc:docMk/>
            <pc:sldMk cId="4106461626" sldId="265"/>
            <ac:spMk id="65" creationId="{42D544FF-22E2-40E2-BF41-A26541550FDF}"/>
          </ac:spMkLst>
        </pc:spChg>
        <pc:spChg chg="mod topLvl">
          <ac:chgData name="Ettore Minelli" userId="7870a1ad-01cf-4239-8cce-750deae7f4ef" providerId="ADAL" clId="{0FDC7236-0C66-43F6-99AF-1100E6B9ED67}" dt="2022-10-27T13:25:24.711" v="2991" actId="255"/>
          <ac:spMkLst>
            <pc:docMk/>
            <pc:sldMk cId="4106461626" sldId="265"/>
            <ac:spMk id="66" creationId="{B2FB06E6-8503-40A9-A46D-9FF8F1979F62}"/>
          </ac:spMkLst>
        </pc:spChg>
        <pc:spChg chg="mod topLvl">
          <ac:chgData name="Ettore Minelli" userId="7870a1ad-01cf-4239-8cce-750deae7f4ef" providerId="ADAL" clId="{0FDC7236-0C66-43F6-99AF-1100E6B9ED67}" dt="2022-10-27T13:25:24.711" v="2991" actId="255"/>
          <ac:spMkLst>
            <pc:docMk/>
            <pc:sldMk cId="4106461626" sldId="265"/>
            <ac:spMk id="67" creationId="{82273A9F-9C0A-442A-9189-CC024F3BB3B5}"/>
          </ac:spMkLst>
        </pc:spChg>
        <pc:spChg chg="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71" creationId="{CD79C38C-13E6-4960-9ECA-5DD0B1AC8FF3}"/>
          </ac:spMkLst>
        </pc:spChg>
        <pc:spChg chg="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72" creationId="{21FBB0BE-962C-40D6-AB2A-23574B525F49}"/>
          </ac:spMkLst>
        </pc:spChg>
        <pc:spChg chg="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73" creationId="{2D05B6D2-F223-423B-8B66-10B770FC0412}"/>
          </ac:spMkLst>
        </pc:spChg>
        <pc:spChg chg="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76" creationId="{EDF85F42-B6F1-403A-887F-2B21134C5027}"/>
          </ac:spMkLst>
        </pc:spChg>
        <pc:spChg chg="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77" creationId="{28648669-D4FA-4035-BF4B-94D8EFE9448F}"/>
          </ac:spMkLst>
        </pc:spChg>
        <pc:spChg chg="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78" creationId="{3424F9C1-BC42-41EB-90A8-69C6FBFFC8A5}"/>
          </ac:spMkLst>
        </pc:spChg>
        <pc:spChg chg="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81" creationId="{FDB8A949-3AD8-4D7E-B3B8-9AEF97DC1536}"/>
          </ac:spMkLst>
        </pc:spChg>
        <pc:spChg chg="del mod topLvl">
          <ac:chgData name="Ettore Minelli" userId="7870a1ad-01cf-4239-8cce-750deae7f4ef" providerId="ADAL" clId="{0FDC7236-0C66-43F6-99AF-1100E6B9ED67}" dt="2022-10-27T10:35:55.124" v="2538" actId="478"/>
          <ac:spMkLst>
            <pc:docMk/>
            <pc:sldMk cId="4106461626" sldId="265"/>
            <ac:spMk id="82" creationId="{5F75AA2F-F766-4B3B-945A-540AB4423E66}"/>
          </ac:spMkLst>
        </pc:spChg>
        <pc:spChg chg="del mod topLvl">
          <ac:chgData name="Ettore Minelli" userId="7870a1ad-01cf-4239-8cce-750deae7f4ef" providerId="ADAL" clId="{0FDC7236-0C66-43F6-99AF-1100E6B9ED67}" dt="2022-10-27T10:35:52.742" v="2535" actId="478"/>
          <ac:spMkLst>
            <pc:docMk/>
            <pc:sldMk cId="4106461626" sldId="265"/>
            <ac:spMk id="83" creationId="{8766B942-5FA3-45AB-BC1F-9EB1B233B5F2}"/>
          </ac:spMkLst>
        </pc:spChg>
        <pc:spChg chg="add mod or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87" creationId="{215E2B00-ED00-4813-BEE1-6B244B841749}"/>
          </ac:spMkLst>
        </pc:spChg>
        <pc:spChg chg="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90" creationId="{174199F2-F6E2-4099-9329-1E699DAEE4D3}"/>
          </ac:spMkLst>
        </pc:spChg>
        <pc:spChg chg="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91" creationId="{82B5F49C-DBAB-4E76-B233-65DCCF6B4251}"/>
          </ac:spMkLst>
        </pc:spChg>
        <pc:spChg chg="del mod topLvl">
          <ac:chgData name="Ettore Minelli" userId="7870a1ad-01cf-4239-8cce-750deae7f4ef" providerId="ADAL" clId="{0FDC7236-0C66-43F6-99AF-1100E6B9ED67}" dt="2022-10-27T10:37:35.388" v="2566" actId="478"/>
          <ac:spMkLst>
            <pc:docMk/>
            <pc:sldMk cId="4106461626" sldId="265"/>
            <ac:spMk id="92" creationId="{0A04E196-CA94-4815-BD2A-B10C52BFFCA0}"/>
          </ac:spMkLst>
        </pc:spChg>
        <pc:spChg chg="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94" creationId="{1982EBBB-F49B-4F03-8FEC-3DDD7858C634}"/>
          </ac:spMkLst>
        </pc:spChg>
        <pc:spChg chg="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97" creationId="{1824D31B-728E-4EE8-90D3-4DCC371F3AC4}"/>
          </ac:spMkLst>
        </pc:spChg>
        <pc:spChg chg="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98" creationId="{ABDB1342-0B06-45BE-8EC6-4973EB389812}"/>
          </ac:spMkLst>
        </pc:spChg>
        <pc:spChg chg="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99" creationId="{6727BC71-3118-4C4C-B065-3D4E68F72935}"/>
          </ac:spMkLst>
        </pc:spChg>
        <pc:spChg chg="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102" creationId="{377DF0ED-8E63-402A-B482-53DE114D4853}"/>
          </ac:spMkLst>
        </pc:spChg>
        <pc:spChg chg="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103" creationId="{9167F10B-258D-4FB4-8791-F7DA8582C11C}"/>
          </ac:spMkLst>
        </pc:spChg>
        <pc:spChg chg="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104" creationId="{6CBB7A6A-3DF1-47FC-82D5-D26DFDFD3639}"/>
          </ac:spMkLst>
        </pc:spChg>
        <pc:spChg chg="mod">
          <ac:chgData name="Ettore Minelli" userId="7870a1ad-01cf-4239-8cce-750deae7f4ef" providerId="ADAL" clId="{0FDC7236-0C66-43F6-99AF-1100E6B9ED67}" dt="2022-10-27T10:37:33.055" v="2565" actId="165"/>
          <ac:spMkLst>
            <pc:docMk/>
            <pc:sldMk cId="4106461626" sldId="265"/>
            <ac:spMk id="107" creationId="{DE7CC761-2728-4E69-94A2-DF29E13EA9D7}"/>
          </ac:spMkLst>
        </pc:spChg>
        <pc:spChg chg="mod">
          <ac:chgData name="Ettore Minelli" userId="7870a1ad-01cf-4239-8cce-750deae7f4ef" providerId="ADAL" clId="{0FDC7236-0C66-43F6-99AF-1100E6B9ED67}" dt="2022-10-27T10:37:33.055" v="2565" actId="165"/>
          <ac:spMkLst>
            <pc:docMk/>
            <pc:sldMk cId="4106461626" sldId="265"/>
            <ac:spMk id="108" creationId="{A0A3F7F2-F9DB-4F8C-833A-C778A8DAA48E}"/>
          </ac:spMkLst>
        </pc:spChg>
        <pc:spChg chg="mod">
          <ac:chgData name="Ettore Minelli" userId="7870a1ad-01cf-4239-8cce-750deae7f4ef" providerId="ADAL" clId="{0FDC7236-0C66-43F6-99AF-1100E6B9ED67}" dt="2022-10-27T12:59:17.336" v="2628"/>
          <ac:spMkLst>
            <pc:docMk/>
            <pc:sldMk cId="4106461626" sldId="265"/>
            <ac:spMk id="108" creationId="{B40488CB-16AD-4907-BDE7-170901CD3B78}"/>
          </ac:spMkLst>
        </pc:spChg>
        <pc:spChg chg="mod">
          <ac:chgData name="Ettore Minelli" userId="7870a1ad-01cf-4239-8cce-750deae7f4ef" providerId="ADAL" clId="{0FDC7236-0C66-43F6-99AF-1100E6B9ED67}" dt="2022-10-27T10:37:33.055" v="2565" actId="165"/>
          <ac:spMkLst>
            <pc:docMk/>
            <pc:sldMk cId="4106461626" sldId="265"/>
            <ac:spMk id="109" creationId="{A296DA3B-BABE-4F49-BF61-EE41A4147512}"/>
          </ac:spMkLst>
        </pc:spChg>
        <pc:spChg chg="mod">
          <ac:chgData name="Ettore Minelli" userId="7870a1ad-01cf-4239-8cce-750deae7f4ef" providerId="ADAL" clId="{0FDC7236-0C66-43F6-99AF-1100E6B9ED67}" dt="2022-10-27T12:59:17.336" v="2628"/>
          <ac:spMkLst>
            <pc:docMk/>
            <pc:sldMk cId="4106461626" sldId="265"/>
            <ac:spMk id="109" creationId="{D007FDAB-D31E-4FD2-8D48-4F8465DE725E}"/>
          </ac:spMkLst>
        </pc:spChg>
        <pc:spChg chg="add 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110" creationId="{4B055526-851D-4ABB-82C4-92D62DB77184}"/>
          </ac:spMkLst>
        </pc:spChg>
        <pc:spChg chg="add 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111" creationId="{D67248CD-415E-4997-AA4E-C8AE8C862B17}"/>
          </ac:spMkLst>
        </pc:spChg>
        <pc:spChg chg="mod">
          <ac:chgData name="Ettore Minelli" userId="7870a1ad-01cf-4239-8cce-750deae7f4ef" providerId="ADAL" clId="{0FDC7236-0C66-43F6-99AF-1100E6B9ED67}" dt="2022-10-27T12:59:17.336" v="2628"/>
          <ac:spMkLst>
            <pc:docMk/>
            <pc:sldMk cId="4106461626" sldId="265"/>
            <ac:spMk id="113" creationId="{98431872-A54D-4311-BC82-B715B5CF521A}"/>
          </ac:spMkLst>
        </pc:spChg>
        <pc:spChg chg="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115" creationId="{C2A794B5-993D-4253-B2B4-C71C33119A54}"/>
          </ac:spMkLst>
        </pc:spChg>
        <pc:spChg chg="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116" creationId="{9943B3EB-E2C5-475A-990E-5E1DB084B1A7}"/>
          </ac:spMkLst>
        </pc:spChg>
        <pc:spChg chg="del mod">
          <ac:chgData name="Ettore Minelli" userId="7870a1ad-01cf-4239-8cce-750deae7f4ef" providerId="ADAL" clId="{0FDC7236-0C66-43F6-99AF-1100E6B9ED67}" dt="2022-10-27T12:59:06.411" v="2625" actId="478"/>
          <ac:spMkLst>
            <pc:docMk/>
            <pc:sldMk cId="4106461626" sldId="265"/>
            <ac:spMk id="117" creationId="{039A323F-6064-4DF6-BCBF-C71A2E8897F3}"/>
          </ac:spMkLst>
        </pc:spChg>
        <pc:spChg chg="del mod">
          <ac:chgData name="Ettore Minelli" userId="7870a1ad-01cf-4239-8cce-750deae7f4ef" providerId="ADAL" clId="{0FDC7236-0C66-43F6-99AF-1100E6B9ED67}" dt="2022-10-27T12:59:09.428" v="2626" actId="478"/>
          <ac:spMkLst>
            <pc:docMk/>
            <pc:sldMk cId="4106461626" sldId="265"/>
            <ac:spMk id="118" creationId="{594399EC-10D8-40C6-B069-C88C56896A03}"/>
          </ac:spMkLst>
        </pc:spChg>
        <pc:spChg chg="del mod">
          <ac:chgData name="Ettore Minelli" userId="7870a1ad-01cf-4239-8cce-750deae7f4ef" providerId="ADAL" clId="{0FDC7236-0C66-43F6-99AF-1100E6B9ED67}" dt="2022-10-27T12:59:13.610" v="2627" actId="478"/>
          <ac:spMkLst>
            <pc:docMk/>
            <pc:sldMk cId="4106461626" sldId="265"/>
            <ac:spMk id="119" creationId="{93558F7B-F3EF-49DB-A62F-434C0F4C3BF1}"/>
          </ac:spMkLst>
        </pc:spChg>
        <pc:spChg chg="mod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123" creationId="{6E1B64FD-E397-414E-931B-B8BBC8906D67}"/>
          </ac:spMkLst>
        </pc:spChg>
        <pc:spChg chg="mod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124" creationId="{BB54711C-5AAA-48F8-BA9B-843538239A7F}"/>
          </ac:spMkLst>
        </pc:spChg>
        <pc:spChg chg="mod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125" creationId="{D0B511BA-B731-47F8-AF97-AC2F61742AF7}"/>
          </ac:spMkLst>
        </pc:spChg>
        <pc:spChg chg="mod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128" creationId="{42404717-7EBA-4BCC-93D2-08829F4A9E5C}"/>
          </ac:spMkLst>
        </pc:spChg>
        <pc:spChg chg="mod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129" creationId="{1E953A95-1070-4C42-ABEC-B63679BD600B}"/>
          </ac:spMkLst>
        </pc:spChg>
        <pc:spChg chg="mod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130" creationId="{3507252D-D59F-414B-9662-13A931941445}"/>
          </ac:spMkLst>
        </pc:spChg>
        <pc:spChg chg="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133" creationId="{D3BFC29D-D3E8-4C5B-A958-0658563574F3}"/>
          </ac:spMkLst>
        </pc:spChg>
        <pc:spChg chg="del mod">
          <ac:chgData name="Ettore Minelli" userId="7870a1ad-01cf-4239-8cce-750deae7f4ef" providerId="ADAL" clId="{0FDC7236-0C66-43F6-99AF-1100E6B9ED67}" dt="2022-10-27T13:02:40.057" v="2668" actId="478"/>
          <ac:spMkLst>
            <pc:docMk/>
            <pc:sldMk cId="4106461626" sldId="265"/>
            <ac:spMk id="134" creationId="{91FAF84D-395B-42F6-ADD0-3EB6C7883983}"/>
          </ac:spMkLst>
        </pc:spChg>
        <pc:spChg chg="del mod">
          <ac:chgData name="Ettore Minelli" userId="7870a1ad-01cf-4239-8cce-750deae7f4ef" providerId="ADAL" clId="{0FDC7236-0C66-43F6-99AF-1100E6B9ED67}" dt="2022-10-27T13:02:35.407" v="2666" actId="478"/>
          <ac:spMkLst>
            <pc:docMk/>
            <pc:sldMk cId="4106461626" sldId="265"/>
            <ac:spMk id="135" creationId="{7A5481CE-76C5-4704-A865-EC397DE1B637}"/>
          </ac:spMkLst>
        </pc:spChg>
        <pc:spChg chg="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139" creationId="{C7A9F29E-E1EE-4BB4-918F-171F80754B77}"/>
          </ac:spMkLst>
        </pc:spChg>
        <pc:spChg chg="mod topLvl">
          <ac:chgData name="Ettore Minelli" userId="7870a1ad-01cf-4239-8cce-750deae7f4ef" providerId="ADAL" clId="{0FDC7236-0C66-43F6-99AF-1100E6B9ED67}" dt="2022-10-27T13:25:24.711" v="2991" actId="255"/>
          <ac:spMkLst>
            <pc:docMk/>
            <pc:sldMk cId="4106461626" sldId="265"/>
            <ac:spMk id="141" creationId="{F0292301-AE5D-4956-B81B-E58713D35015}"/>
          </ac:spMkLst>
        </pc:spChg>
        <pc:spChg chg="mod topLvl">
          <ac:chgData name="Ettore Minelli" userId="7870a1ad-01cf-4239-8cce-750deae7f4ef" providerId="ADAL" clId="{0FDC7236-0C66-43F6-99AF-1100E6B9ED67}" dt="2022-10-27T13:25:24.711" v="2991" actId="255"/>
          <ac:spMkLst>
            <pc:docMk/>
            <pc:sldMk cId="4106461626" sldId="265"/>
            <ac:spMk id="142" creationId="{23D25589-5D78-4347-8514-181E1F4E3BEA}"/>
          </ac:spMkLst>
        </pc:spChg>
        <pc:spChg chg="mod topLvl">
          <ac:chgData name="Ettore Minelli" userId="7870a1ad-01cf-4239-8cce-750deae7f4ef" providerId="ADAL" clId="{0FDC7236-0C66-43F6-99AF-1100E6B9ED67}" dt="2022-10-27T13:25:24.711" v="2991" actId="255"/>
          <ac:spMkLst>
            <pc:docMk/>
            <pc:sldMk cId="4106461626" sldId="265"/>
            <ac:spMk id="143" creationId="{CDAC62FC-9704-4B62-853C-9619C184CE5C}"/>
          </ac:spMkLst>
        </pc:spChg>
        <pc:spChg chg="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147" creationId="{7D0B4104-4018-45C9-B27A-1DE2D770B02B}"/>
          </ac:spMkLst>
        </pc:spChg>
        <pc:spChg chg="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148" creationId="{8245BBB3-1048-4F06-B600-19D200A09AE3}"/>
          </ac:spMkLst>
        </pc:spChg>
        <pc:spChg chg="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149" creationId="{1FAF5C7E-3B79-4935-AD2A-D09005688858}"/>
          </ac:spMkLst>
        </pc:spChg>
        <pc:spChg chg="add 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152" creationId="{D448556C-7306-4AF1-821A-29BF8A84011C}"/>
          </ac:spMkLst>
        </pc:spChg>
        <pc:spChg chg="add 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153" creationId="{D685DD1B-43A6-46D7-AADA-63F782373778}"/>
          </ac:spMkLst>
        </pc:spChg>
        <pc:spChg chg="add 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154" creationId="{B9376643-A11C-4C1B-BFFA-3ADF6A3BA75A}"/>
          </ac:spMkLst>
        </pc:spChg>
        <pc:spChg chg="add 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155" creationId="{F8DAE7FE-E5D6-4EF0-B6C6-7E536F4D06FC}"/>
          </ac:spMkLst>
        </pc:spChg>
        <pc:spChg chg="add mod topLvl">
          <ac:chgData name="Ettore Minelli" userId="7870a1ad-01cf-4239-8cce-750deae7f4ef" providerId="ADAL" clId="{0FDC7236-0C66-43F6-99AF-1100E6B9ED67}" dt="2022-10-27T13:16:35.767" v="2875" actId="255"/>
          <ac:spMkLst>
            <pc:docMk/>
            <pc:sldMk cId="4106461626" sldId="265"/>
            <ac:spMk id="156" creationId="{87FF7E10-8938-4C9F-A746-AA1617C281EC}"/>
          </ac:spMkLst>
        </pc:spChg>
        <pc:grpChg chg="add del mod topLvl">
          <ac:chgData name="Ettore Minelli" userId="7870a1ad-01cf-4239-8cce-750deae7f4ef" providerId="ADAL" clId="{0FDC7236-0C66-43F6-99AF-1100E6B9ED67}" dt="2022-10-27T13:14:08.003" v="2815" actId="165"/>
          <ac:grpSpMkLst>
            <pc:docMk/>
            <pc:sldMk cId="4106461626" sldId="265"/>
            <ac:grpSpMk id="3" creationId="{27242554-44EE-46EE-8841-405106E4A658}"/>
          </ac:grpSpMkLst>
        </pc:grpChg>
        <pc:grpChg chg="add mod">
          <ac:chgData name="Ettore Minelli" userId="7870a1ad-01cf-4239-8cce-750deae7f4ef" providerId="ADAL" clId="{0FDC7236-0C66-43F6-99AF-1100E6B9ED67}" dt="2022-10-27T13:02:12.841" v="2662" actId="164"/>
          <ac:grpSpMkLst>
            <pc:docMk/>
            <pc:sldMk cId="4106461626" sldId="265"/>
            <ac:grpSpMk id="4" creationId="{9DA0C408-9B0A-4523-9DFB-A650ADAC9264}"/>
          </ac:grpSpMkLst>
        </pc:grpChg>
        <pc:grpChg chg="add del mod">
          <ac:chgData name="Ettore Minelli" userId="7870a1ad-01cf-4239-8cce-750deae7f4ef" providerId="ADAL" clId="{0FDC7236-0C66-43F6-99AF-1100E6B9ED67}" dt="2022-10-27T13:13:05.453" v="2808" actId="165"/>
          <ac:grpSpMkLst>
            <pc:docMk/>
            <pc:sldMk cId="4106461626" sldId="265"/>
            <ac:grpSpMk id="18" creationId="{A44B355D-B7F2-4FB2-8AB2-F47A1D3F45D1}"/>
          </ac:grpSpMkLst>
        </pc:grpChg>
        <pc:grpChg chg="add mod">
          <ac:chgData name="Ettore Minelli" userId="7870a1ad-01cf-4239-8cce-750deae7f4ef" providerId="ADAL" clId="{0FDC7236-0C66-43F6-99AF-1100E6B9ED67}" dt="2022-10-27T13:16:23.167" v="2874" actId="14100"/>
          <ac:grpSpMkLst>
            <pc:docMk/>
            <pc:sldMk cId="4106461626" sldId="265"/>
            <ac:grpSpMk id="20" creationId="{E36A9704-D08D-4702-8CAE-0CA5D4A6B159}"/>
          </ac:grpSpMkLst>
        </pc:grpChg>
        <pc:grpChg chg="add mod topLvl">
          <ac:chgData name="Ettore Minelli" userId="7870a1ad-01cf-4239-8cce-750deae7f4ef" providerId="ADAL" clId="{0FDC7236-0C66-43F6-99AF-1100E6B9ED67}" dt="2022-10-27T13:14:26.602" v="2817" actId="164"/>
          <ac:grpSpMkLst>
            <pc:docMk/>
            <pc:sldMk cId="4106461626" sldId="265"/>
            <ac:grpSpMk id="24" creationId="{BBE278CD-3273-4B93-8E9F-240F5343B71B}"/>
          </ac:grpSpMkLst>
        </pc:grpChg>
        <pc:grpChg chg="add mod topLvl">
          <ac:chgData name="Ettore Minelli" userId="7870a1ad-01cf-4239-8cce-750deae7f4ef" providerId="ADAL" clId="{0FDC7236-0C66-43F6-99AF-1100E6B9ED67}" dt="2022-10-27T13:14:26.602" v="2817" actId="164"/>
          <ac:grpSpMkLst>
            <pc:docMk/>
            <pc:sldMk cId="4106461626" sldId="265"/>
            <ac:grpSpMk id="28" creationId="{48C7CB89-704A-4AED-AA67-3627D041112B}"/>
          </ac:grpSpMkLst>
        </pc:grpChg>
        <pc:grpChg chg="add mod topLvl">
          <ac:chgData name="Ettore Minelli" userId="7870a1ad-01cf-4239-8cce-750deae7f4ef" providerId="ADAL" clId="{0FDC7236-0C66-43F6-99AF-1100E6B9ED67}" dt="2022-10-27T13:14:26.602" v="2817" actId="164"/>
          <ac:grpSpMkLst>
            <pc:docMk/>
            <pc:sldMk cId="4106461626" sldId="265"/>
            <ac:grpSpMk id="34" creationId="{046CBF2D-DE17-4A22-B3C0-95D2D094DBAE}"/>
          </ac:grpSpMkLst>
        </pc:grpChg>
        <pc:grpChg chg="add del mod">
          <ac:chgData name="Ettore Minelli" userId="7870a1ad-01cf-4239-8cce-750deae7f4ef" providerId="ADAL" clId="{0FDC7236-0C66-43F6-99AF-1100E6B9ED67}" dt="2022-10-27T10:24:24.282" v="2273" actId="478"/>
          <ac:grpSpMkLst>
            <pc:docMk/>
            <pc:sldMk cId="4106461626" sldId="265"/>
            <ac:grpSpMk id="40" creationId="{D30EAC8A-1BDC-4ED2-AD1F-5F031DBFA165}"/>
          </ac:grpSpMkLst>
        </pc:grpChg>
        <pc:grpChg chg="add del mod">
          <ac:chgData name="Ettore Minelli" userId="7870a1ad-01cf-4239-8cce-750deae7f4ef" providerId="ADAL" clId="{0FDC7236-0C66-43F6-99AF-1100E6B9ED67}" dt="2022-10-27T10:24:42.465" v="2276" actId="478"/>
          <ac:grpSpMkLst>
            <pc:docMk/>
            <pc:sldMk cId="4106461626" sldId="265"/>
            <ac:grpSpMk id="46" creationId="{F7D56C49-6422-4EB8-BEC6-7A41259F3980}"/>
          </ac:grpSpMkLst>
        </pc:grpChg>
        <pc:grpChg chg="add del mod">
          <ac:chgData name="Ettore Minelli" userId="7870a1ad-01cf-4239-8cce-750deae7f4ef" providerId="ADAL" clId="{0FDC7236-0C66-43F6-99AF-1100E6B9ED67}" dt="2022-10-27T10:27:08.946" v="2289" actId="165"/>
          <ac:grpSpMkLst>
            <pc:docMk/>
            <pc:sldMk cId="4106461626" sldId="265"/>
            <ac:grpSpMk id="52" creationId="{FA5BA5B2-8DAE-4026-9201-02446AADA505}"/>
          </ac:grpSpMkLst>
        </pc:grpChg>
        <pc:grpChg chg="add del mod topLvl">
          <ac:chgData name="Ettore Minelli" userId="7870a1ad-01cf-4239-8cce-750deae7f4ef" providerId="ADAL" clId="{0FDC7236-0C66-43F6-99AF-1100E6B9ED67}" dt="2022-10-27T13:14:08.003" v="2815" actId="165"/>
          <ac:grpSpMkLst>
            <pc:docMk/>
            <pc:sldMk cId="4106461626" sldId="265"/>
            <ac:grpSpMk id="61" creationId="{BD7EBC44-F0CF-4F5B-AD3E-BF3CBEE11ED7}"/>
          </ac:grpSpMkLst>
        </pc:grpChg>
        <pc:grpChg chg="add del mod">
          <ac:chgData name="Ettore Minelli" userId="7870a1ad-01cf-4239-8cce-750deae7f4ef" providerId="ADAL" clId="{0FDC7236-0C66-43F6-99AF-1100E6B9ED67}" dt="2022-10-27T10:34:43.349" v="2513" actId="165"/>
          <ac:grpSpMkLst>
            <pc:docMk/>
            <pc:sldMk cId="4106461626" sldId="265"/>
            <ac:grpSpMk id="62" creationId="{54263B53-95C8-4B0E-9787-E910CCB0E234}"/>
          </ac:grpSpMkLst>
        </pc:grpChg>
        <pc:grpChg chg="del mod topLvl">
          <ac:chgData name="Ettore Minelli" userId="7870a1ad-01cf-4239-8cce-750deae7f4ef" providerId="ADAL" clId="{0FDC7236-0C66-43F6-99AF-1100E6B9ED67}" dt="2022-10-27T10:35:49.975" v="2534" actId="165"/>
          <ac:grpSpMkLst>
            <pc:docMk/>
            <pc:sldMk cId="4106461626" sldId="265"/>
            <ac:grpSpMk id="68" creationId="{0E589AAF-5618-4C7C-8068-44B6D78B267B}"/>
          </ac:grpSpMkLst>
        </pc:grpChg>
        <pc:grpChg chg="del mod topLvl">
          <ac:chgData name="Ettore Minelli" userId="7870a1ad-01cf-4239-8cce-750deae7f4ef" providerId="ADAL" clId="{0FDC7236-0C66-43F6-99AF-1100E6B9ED67}" dt="2022-10-27T13:14:08.003" v="2815" actId="165"/>
          <ac:grpSpMkLst>
            <pc:docMk/>
            <pc:sldMk cId="4106461626" sldId="265"/>
            <ac:grpSpMk id="69" creationId="{91EE2998-4D6B-4E10-8800-22BECDD027E4}"/>
          </ac:grpSpMkLst>
        </pc:grpChg>
        <pc:grpChg chg="del mod topLvl">
          <ac:chgData name="Ettore Minelli" userId="7870a1ad-01cf-4239-8cce-750deae7f4ef" providerId="ADAL" clId="{0FDC7236-0C66-43F6-99AF-1100E6B9ED67}" dt="2022-10-27T13:14:08.003" v="2815" actId="165"/>
          <ac:grpSpMkLst>
            <pc:docMk/>
            <pc:sldMk cId="4106461626" sldId="265"/>
            <ac:grpSpMk id="70" creationId="{F0547A1B-12A9-45CB-9DA5-3395800E4159}"/>
          </ac:grpSpMkLst>
        </pc:grpChg>
        <pc:grpChg chg="add mod topLvl">
          <ac:chgData name="Ettore Minelli" userId="7870a1ad-01cf-4239-8cce-750deae7f4ef" providerId="ADAL" clId="{0FDC7236-0C66-43F6-99AF-1100E6B9ED67}" dt="2022-10-27T13:14:26.602" v="2817" actId="164"/>
          <ac:grpSpMkLst>
            <pc:docMk/>
            <pc:sldMk cId="4106461626" sldId="265"/>
            <ac:grpSpMk id="86" creationId="{0B2276C4-DB45-42DE-B1ED-C9D11DAF9A5A}"/>
          </ac:grpSpMkLst>
        </pc:grpChg>
        <pc:grpChg chg="add del mod">
          <ac:chgData name="Ettore Minelli" userId="7870a1ad-01cf-4239-8cce-750deae7f4ef" providerId="ADAL" clId="{0FDC7236-0C66-43F6-99AF-1100E6B9ED67}" dt="2022-10-27T10:40:14.318" v="2588" actId="165"/>
          <ac:grpSpMkLst>
            <pc:docMk/>
            <pc:sldMk cId="4106461626" sldId="265"/>
            <ac:grpSpMk id="88" creationId="{7EFD8A79-841B-409F-9333-BE4500CF7288}"/>
          </ac:grpSpMkLst>
        </pc:grpChg>
        <pc:grpChg chg="add del mod">
          <ac:chgData name="Ettore Minelli" userId="7870a1ad-01cf-4239-8cce-750deae7f4ef" providerId="ADAL" clId="{0FDC7236-0C66-43F6-99AF-1100E6B9ED67}" dt="2022-10-27T10:37:33.055" v="2565" actId="165"/>
          <ac:grpSpMkLst>
            <pc:docMk/>
            <pc:sldMk cId="4106461626" sldId="265"/>
            <ac:grpSpMk id="89" creationId="{11C022CE-FD9E-479A-9E46-0D6B5D64BF05}"/>
          </ac:grpSpMkLst>
        </pc:grpChg>
        <pc:grpChg chg="del mod topLvl">
          <ac:chgData name="Ettore Minelli" userId="7870a1ad-01cf-4239-8cce-750deae7f4ef" providerId="ADAL" clId="{0FDC7236-0C66-43F6-99AF-1100E6B9ED67}" dt="2022-10-27T10:37:38.122" v="2567" actId="478"/>
          <ac:grpSpMkLst>
            <pc:docMk/>
            <pc:sldMk cId="4106461626" sldId="265"/>
            <ac:grpSpMk id="93" creationId="{0A654656-7FD4-4516-9584-10A5898C8B41}"/>
          </ac:grpSpMkLst>
        </pc:grpChg>
        <pc:grpChg chg="del mod topLvl">
          <ac:chgData name="Ettore Minelli" userId="7870a1ad-01cf-4239-8cce-750deae7f4ef" providerId="ADAL" clId="{0FDC7236-0C66-43F6-99AF-1100E6B9ED67}" dt="2022-10-27T13:14:08.003" v="2815" actId="165"/>
          <ac:grpSpMkLst>
            <pc:docMk/>
            <pc:sldMk cId="4106461626" sldId="265"/>
            <ac:grpSpMk id="95" creationId="{0B9844A7-FE4A-4E22-B0F1-2170A34A8C8C}"/>
          </ac:grpSpMkLst>
        </pc:grpChg>
        <pc:grpChg chg="del mod topLvl">
          <ac:chgData name="Ettore Minelli" userId="7870a1ad-01cf-4239-8cce-750deae7f4ef" providerId="ADAL" clId="{0FDC7236-0C66-43F6-99AF-1100E6B9ED67}" dt="2022-10-27T13:14:08.003" v="2815" actId="165"/>
          <ac:grpSpMkLst>
            <pc:docMk/>
            <pc:sldMk cId="4106461626" sldId="265"/>
            <ac:grpSpMk id="96" creationId="{940BC78D-7854-409B-9897-3A9D06E4CFA4}"/>
          </ac:grpSpMkLst>
        </pc:grpChg>
        <pc:grpChg chg="add del mod">
          <ac:chgData name="Ettore Minelli" userId="7870a1ad-01cf-4239-8cce-750deae7f4ef" providerId="ADAL" clId="{0FDC7236-0C66-43F6-99AF-1100E6B9ED67}" dt="2022-10-27T12:59:19.161" v="2629"/>
          <ac:grpSpMkLst>
            <pc:docMk/>
            <pc:sldMk cId="4106461626" sldId="265"/>
            <ac:grpSpMk id="107" creationId="{81B07868-E064-41B9-A5A8-32726D21FA60}"/>
          </ac:grpSpMkLst>
        </pc:grpChg>
        <pc:grpChg chg="add del mod topLvl">
          <ac:chgData name="Ettore Minelli" userId="7870a1ad-01cf-4239-8cce-750deae7f4ef" providerId="ADAL" clId="{0FDC7236-0C66-43F6-99AF-1100E6B9ED67}" dt="2022-10-27T13:14:08.003" v="2815" actId="165"/>
          <ac:grpSpMkLst>
            <pc:docMk/>
            <pc:sldMk cId="4106461626" sldId="265"/>
            <ac:grpSpMk id="112" creationId="{C751C8F7-B2D7-4102-ABCF-C63779B590AF}"/>
          </ac:grpSpMkLst>
        </pc:grpChg>
        <pc:grpChg chg="add del mod">
          <ac:chgData name="Ettore Minelli" userId="7870a1ad-01cf-4239-8cce-750deae7f4ef" providerId="ADAL" clId="{0FDC7236-0C66-43F6-99AF-1100E6B9ED67}" dt="2022-10-27T10:42:50.597" v="2599" actId="165"/>
          <ac:grpSpMkLst>
            <pc:docMk/>
            <pc:sldMk cId="4106461626" sldId="265"/>
            <ac:grpSpMk id="113" creationId="{CD36FC28-D361-4FCE-AA52-432EFB9AC708}"/>
          </ac:grpSpMkLst>
        </pc:grpChg>
        <pc:grpChg chg="add del mod topLvl">
          <ac:chgData name="Ettore Minelli" userId="7870a1ad-01cf-4239-8cce-750deae7f4ef" providerId="ADAL" clId="{0FDC7236-0C66-43F6-99AF-1100E6B9ED67}" dt="2022-10-27T13:14:08.003" v="2815" actId="165"/>
          <ac:grpSpMkLst>
            <pc:docMk/>
            <pc:sldMk cId="4106461626" sldId="265"/>
            <ac:grpSpMk id="114" creationId="{C0F307E4-77BB-4441-9BC2-38D51375627D}"/>
          </ac:grpSpMkLst>
        </pc:grpChg>
        <pc:grpChg chg="del mod">
          <ac:chgData name="Ettore Minelli" userId="7870a1ad-01cf-4239-8cce-750deae7f4ef" providerId="ADAL" clId="{0FDC7236-0C66-43F6-99AF-1100E6B9ED67}" dt="2022-10-27T13:02:40.057" v="2668" actId="478"/>
          <ac:grpSpMkLst>
            <pc:docMk/>
            <pc:sldMk cId="4106461626" sldId="265"/>
            <ac:grpSpMk id="120" creationId="{A386E965-E4DB-453F-9CFD-D75A55F8C6C5}"/>
          </ac:grpSpMkLst>
        </pc:grpChg>
        <pc:grpChg chg="mod topLvl">
          <ac:chgData name="Ettore Minelli" userId="7870a1ad-01cf-4239-8cce-750deae7f4ef" providerId="ADAL" clId="{0FDC7236-0C66-43F6-99AF-1100E6B9ED67}" dt="2022-10-27T13:14:26.602" v="2817" actId="164"/>
          <ac:grpSpMkLst>
            <pc:docMk/>
            <pc:sldMk cId="4106461626" sldId="265"/>
            <ac:grpSpMk id="121" creationId="{7EB2FAEB-7273-49FB-9C5F-D3876B540571}"/>
          </ac:grpSpMkLst>
        </pc:grpChg>
        <pc:grpChg chg="mod topLvl">
          <ac:chgData name="Ettore Minelli" userId="7870a1ad-01cf-4239-8cce-750deae7f4ef" providerId="ADAL" clId="{0FDC7236-0C66-43F6-99AF-1100E6B9ED67}" dt="2022-10-27T13:14:26.602" v="2817" actId="164"/>
          <ac:grpSpMkLst>
            <pc:docMk/>
            <pc:sldMk cId="4106461626" sldId="265"/>
            <ac:grpSpMk id="122" creationId="{39E4A14F-4C84-413E-8FF0-FF0BF5556FC2}"/>
          </ac:grpSpMkLst>
        </pc:grpChg>
        <pc:grpChg chg="add del mod">
          <ac:chgData name="Ettore Minelli" userId="7870a1ad-01cf-4239-8cce-750deae7f4ef" providerId="ADAL" clId="{0FDC7236-0C66-43F6-99AF-1100E6B9ED67}" dt="2022-10-27T13:01:14.991" v="2654" actId="165"/>
          <ac:grpSpMkLst>
            <pc:docMk/>
            <pc:sldMk cId="4106461626" sldId="265"/>
            <ac:grpSpMk id="138" creationId="{86A1CA7E-0D4B-4923-92F8-86FF6A6E7734}"/>
          </ac:grpSpMkLst>
        </pc:grpChg>
        <pc:grpChg chg="del mod topLvl">
          <ac:chgData name="Ettore Minelli" userId="7870a1ad-01cf-4239-8cce-750deae7f4ef" providerId="ADAL" clId="{0FDC7236-0C66-43F6-99AF-1100E6B9ED67}" dt="2022-10-27T13:14:08.003" v="2815" actId="165"/>
          <ac:grpSpMkLst>
            <pc:docMk/>
            <pc:sldMk cId="4106461626" sldId="265"/>
            <ac:grpSpMk id="140" creationId="{A42C620F-35DF-4465-BB17-94713307B0FB}"/>
          </ac:grpSpMkLst>
        </pc:grpChg>
        <pc:grpChg chg="add del mod topLvl">
          <ac:chgData name="Ettore Minelli" userId="7870a1ad-01cf-4239-8cce-750deae7f4ef" providerId="ADAL" clId="{0FDC7236-0C66-43F6-99AF-1100E6B9ED67}" dt="2022-10-27T13:14:08.003" v="2815" actId="165"/>
          <ac:grpSpMkLst>
            <pc:docMk/>
            <pc:sldMk cId="4106461626" sldId="265"/>
            <ac:grpSpMk id="146" creationId="{B1C94144-AC2D-4F0E-9116-DB471E6B129B}"/>
          </ac:grpSpMkLst>
        </pc:grpChg>
        <pc:picChg chg="add mod topLvl">
          <ac:chgData name="Ettore Minelli" userId="7870a1ad-01cf-4239-8cce-750deae7f4ef" providerId="ADAL" clId="{0FDC7236-0C66-43F6-99AF-1100E6B9ED67}" dt="2022-10-27T13:14:26.602" v="2817" actId="164"/>
          <ac:picMkLst>
            <pc:docMk/>
            <pc:sldMk cId="4106461626" sldId="265"/>
            <ac:picMk id="11" creationId="{8B80F2B6-7434-48AF-9E6D-76EDB2BDD4B5}"/>
          </ac:picMkLst>
        </pc:picChg>
        <pc:picChg chg="add mod topLvl">
          <ac:chgData name="Ettore Minelli" userId="7870a1ad-01cf-4239-8cce-750deae7f4ef" providerId="ADAL" clId="{0FDC7236-0C66-43F6-99AF-1100E6B9ED67}" dt="2022-10-27T13:14:26.602" v="2817" actId="164"/>
          <ac:picMkLst>
            <pc:docMk/>
            <pc:sldMk cId="4106461626" sldId="265"/>
            <ac:picMk id="14" creationId="{C1DB3445-90DC-4234-A6A3-E0D3486DBED4}"/>
          </ac:picMkLst>
        </pc:picChg>
        <pc:picChg chg="add mod topLvl">
          <ac:chgData name="Ettore Minelli" userId="7870a1ad-01cf-4239-8cce-750deae7f4ef" providerId="ADAL" clId="{0FDC7236-0C66-43F6-99AF-1100E6B9ED67}" dt="2022-10-27T13:14:26.602" v="2817" actId="164"/>
          <ac:picMkLst>
            <pc:docMk/>
            <pc:sldMk cId="4106461626" sldId="265"/>
            <ac:picMk id="144" creationId="{C8FF1444-8FA8-4542-9F34-9AC869AC67B5}"/>
          </ac:picMkLst>
        </pc:picChg>
        <pc:picChg chg="add mod topLvl">
          <ac:chgData name="Ettore Minelli" userId="7870a1ad-01cf-4239-8cce-750deae7f4ef" providerId="ADAL" clId="{0FDC7236-0C66-43F6-99AF-1100E6B9ED67}" dt="2022-10-27T13:14:26.602" v="2817" actId="164"/>
          <ac:picMkLst>
            <pc:docMk/>
            <pc:sldMk cId="4106461626" sldId="265"/>
            <ac:picMk id="145" creationId="{92DA4761-6808-4E4D-B009-2522A614086D}"/>
          </ac:picMkLst>
        </pc:picChg>
        <pc:picChg chg="add mod topLvl">
          <ac:chgData name="Ettore Minelli" userId="7870a1ad-01cf-4239-8cce-750deae7f4ef" providerId="ADAL" clId="{0FDC7236-0C66-43F6-99AF-1100E6B9ED67}" dt="2022-10-27T13:14:26.602" v="2817" actId="164"/>
          <ac:picMkLst>
            <pc:docMk/>
            <pc:sldMk cId="4106461626" sldId="265"/>
            <ac:picMk id="157" creationId="{54DD5DB7-57C9-41DF-B692-F9FE2FB40821}"/>
          </ac:picMkLst>
        </pc:picChg>
        <pc:cxnChg chg="add mod ord topLvl">
          <ac:chgData name="Ettore Minelli" userId="7870a1ad-01cf-4239-8cce-750deae7f4ef" providerId="ADAL" clId="{0FDC7236-0C66-43F6-99AF-1100E6B9ED67}" dt="2022-10-27T13:16:50.300" v="2876" actId="170"/>
          <ac:cxnSpMkLst>
            <pc:docMk/>
            <pc:sldMk cId="4106461626" sldId="265"/>
            <ac:cxnSpMk id="12" creationId="{87D489D7-48C8-4264-ACA6-59544DFA8C58}"/>
          </ac:cxnSpMkLst>
        </pc:cxnChg>
        <pc:cxnChg chg="add mod">
          <ac:chgData name="Ettore Minelli" userId="7870a1ad-01cf-4239-8cce-750deae7f4ef" providerId="ADAL" clId="{0FDC7236-0C66-43F6-99AF-1100E6B9ED67}" dt="2022-10-27T13:14:08.003" v="2815" actId="165"/>
          <ac:cxnSpMkLst>
            <pc:docMk/>
            <pc:sldMk cId="4106461626" sldId="265"/>
            <ac:cxnSpMk id="19" creationId="{4098EEAC-3881-46CE-A9C3-DC6F184A138E}"/>
          </ac:cxnSpMkLst>
        </pc:cxnChg>
        <pc:cxnChg chg="add mod">
          <ac:chgData name="Ettore Minelli" userId="7870a1ad-01cf-4239-8cce-750deae7f4ef" providerId="ADAL" clId="{0FDC7236-0C66-43F6-99AF-1100E6B9ED67}" dt="2022-10-27T13:14:08.003" v="2815" actId="165"/>
          <ac:cxnSpMkLst>
            <pc:docMk/>
            <pc:sldMk cId="4106461626" sldId="265"/>
            <ac:cxnSpMk id="23" creationId="{6D97D33F-6593-457C-A3B3-881075C45A4D}"/>
          </ac:cxnSpMkLst>
        </pc:cxnChg>
        <pc:cxnChg chg="add mod ord topLvl">
          <ac:chgData name="Ettore Minelli" userId="7870a1ad-01cf-4239-8cce-750deae7f4ef" providerId="ADAL" clId="{0FDC7236-0C66-43F6-99AF-1100E6B9ED67}" dt="2022-10-27T13:16:50.300" v="2876" actId="170"/>
          <ac:cxnSpMkLst>
            <pc:docMk/>
            <pc:sldMk cId="4106461626" sldId="265"/>
            <ac:cxnSpMk id="25" creationId="{EA46695E-664B-4CCF-B0FD-38D7A752E55F}"/>
          </ac:cxnSpMkLst>
        </pc:cxnChg>
        <pc:cxnChg chg="add mod ord topLvl">
          <ac:chgData name="Ettore Minelli" userId="7870a1ad-01cf-4239-8cce-750deae7f4ef" providerId="ADAL" clId="{0FDC7236-0C66-43F6-99AF-1100E6B9ED67}" dt="2022-10-27T13:16:50.300" v="2876" actId="170"/>
          <ac:cxnSpMkLst>
            <pc:docMk/>
            <pc:sldMk cId="4106461626" sldId="265"/>
            <ac:cxnSpMk id="26" creationId="{35EC3046-6960-4629-B23E-AD5DD91B1E5B}"/>
          </ac:cxnSpMkLst>
        </pc:cxnChg>
        <pc:cxnChg chg="add mod topLvl">
          <ac:chgData name="Ettore Minelli" userId="7870a1ad-01cf-4239-8cce-750deae7f4ef" providerId="ADAL" clId="{0FDC7236-0C66-43F6-99AF-1100E6B9ED67}" dt="2022-10-27T13:14:26.602" v="2817" actId="164"/>
          <ac:cxnSpMkLst>
            <pc:docMk/>
            <pc:sldMk cId="4106461626" sldId="265"/>
            <ac:cxnSpMk id="27" creationId="{4A131F09-9CA6-4F3E-B03E-A214B0795CB4}"/>
          </ac:cxnSpMkLst>
        </pc:cxnChg>
        <pc:cxnChg chg="mod">
          <ac:chgData name="Ettore Minelli" userId="7870a1ad-01cf-4239-8cce-750deae7f4ef" providerId="ADAL" clId="{0FDC7236-0C66-43F6-99AF-1100E6B9ED67}" dt="2022-10-27T13:14:08.003" v="2815" actId="165"/>
          <ac:cxnSpMkLst>
            <pc:docMk/>
            <pc:sldMk cId="4106461626" sldId="265"/>
            <ac:cxnSpMk id="32" creationId="{F4851A18-A118-4269-A215-A4A44D872782}"/>
          </ac:cxnSpMkLst>
        </pc:cxnChg>
        <pc:cxnChg chg="mod">
          <ac:chgData name="Ettore Minelli" userId="7870a1ad-01cf-4239-8cce-750deae7f4ef" providerId="ADAL" clId="{0FDC7236-0C66-43F6-99AF-1100E6B9ED67}" dt="2022-10-27T13:14:08.003" v="2815" actId="165"/>
          <ac:cxnSpMkLst>
            <pc:docMk/>
            <pc:sldMk cId="4106461626" sldId="265"/>
            <ac:cxnSpMk id="33" creationId="{178276FD-71AF-410C-B917-C4428F1A00D9}"/>
          </ac:cxnSpMkLst>
        </pc:cxnChg>
        <pc:cxnChg chg="mod">
          <ac:chgData name="Ettore Minelli" userId="7870a1ad-01cf-4239-8cce-750deae7f4ef" providerId="ADAL" clId="{0FDC7236-0C66-43F6-99AF-1100E6B9ED67}" dt="2022-10-27T13:14:08.003" v="2815" actId="165"/>
          <ac:cxnSpMkLst>
            <pc:docMk/>
            <pc:sldMk cId="4106461626" sldId="265"/>
            <ac:cxnSpMk id="38" creationId="{E90064C6-4674-41F7-8921-3E4AC488E5E7}"/>
          </ac:cxnSpMkLst>
        </pc:cxnChg>
        <pc:cxnChg chg="mod">
          <ac:chgData name="Ettore Minelli" userId="7870a1ad-01cf-4239-8cce-750deae7f4ef" providerId="ADAL" clId="{0FDC7236-0C66-43F6-99AF-1100E6B9ED67}" dt="2022-10-27T13:14:08.003" v="2815" actId="165"/>
          <ac:cxnSpMkLst>
            <pc:docMk/>
            <pc:sldMk cId="4106461626" sldId="265"/>
            <ac:cxnSpMk id="39" creationId="{CD21B90E-7234-4D0A-8E04-CB5307453272}"/>
          </ac:cxnSpMkLst>
        </pc:cxnChg>
        <pc:cxnChg chg="mod">
          <ac:chgData name="Ettore Minelli" userId="7870a1ad-01cf-4239-8cce-750deae7f4ef" providerId="ADAL" clId="{0FDC7236-0C66-43F6-99AF-1100E6B9ED67}" dt="2022-10-27T10:24:24.282" v="2273" actId="478"/>
          <ac:cxnSpMkLst>
            <pc:docMk/>
            <pc:sldMk cId="4106461626" sldId="265"/>
            <ac:cxnSpMk id="44" creationId="{357FCE75-D0D9-4C72-9BF4-322D16750F46}"/>
          </ac:cxnSpMkLst>
        </pc:cxnChg>
        <pc:cxnChg chg="mod">
          <ac:chgData name="Ettore Minelli" userId="7870a1ad-01cf-4239-8cce-750deae7f4ef" providerId="ADAL" clId="{0FDC7236-0C66-43F6-99AF-1100E6B9ED67}" dt="2022-10-27T10:24:24.282" v="2273" actId="478"/>
          <ac:cxnSpMkLst>
            <pc:docMk/>
            <pc:sldMk cId="4106461626" sldId="265"/>
            <ac:cxnSpMk id="45" creationId="{FBA4698E-9F16-49D6-B5A2-98D75F742400}"/>
          </ac:cxnSpMkLst>
        </pc:cxnChg>
        <pc:cxnChg chg="mod">
          <ac:chgData name="Ettore Minelli" userId="7870a1ad-01cf-4239-8cce-750deae7f4ef" providerId="ADAL" clId="{0FDC7236-0C66-43F6-99AF-1100E6B9ED67}" dt="2022-10-27T10:24:42.465" v="2276" actId="478"/>
          <ac:cxnSpMkLst>
            <pc:docMk/>
            <pc:sldMk cId="4106461626" sldId="265"/>
            <ac:cxnSpMk id="50" creationId="{16277B2B-C1F0-4123-90B4-E52324E960C0}"/>
          </ac:cxnSpMkLst>
        </pc:cxnChg>
        <pc:cxnChg chg="mod">
          <ac:chgData name="Ettore Minelli" userId="7870a1ad-01cf-4239-8cce-750deae7f4ef" providerId="ADAL" clId="{0FDC7236-0C66-43F6-99AF-1100E6B9ED67}" dt="2022-10-27T10:24:42.465" v="2276" actId="478"/>
          <ac:cxnSpMkLst>
            <pc:docMk/>
            <pc:sldMk cId="4106461626" sldId="265"/>
            <ac:cxnSpMk id="51" creationId="{9BE3ADCE-1FF6-4B33-BC42-CF00EBFFE9BC}"/>
          </ac:cxnSpMkLst>
        </pc:cxnChg>
        <pc:cxnChg chg="mod topLvl">
          <ac:chgData name="Ettore Minelli" userId="7870a1ad-01cf-4239-8cce-750deae7f4ef" providerId="ADAL" clId="{0FDC7236-0C66-43F6-99AF-1100E6B9ED67}" dt="2022-10-27T13:14:26.602" v="2817" actId="164"/>
          <ac:cxnSpMkLst>
            <pc:docMk/>
            <pc:sldMk cId="4106461626" sldId="265"/>
            <ac:cxnSpMk id="74" creationId="{D04382A7-957E-4E36-B585-4DDE9607DFB7}"/>
          </ac:cxnSpMkLst>
        </pc:cxnChg>
        <pc:cxnChg chg="mod topLvl">
          <ac:chgData name="Ettore Minelli" userId="7870a1ad-01cf-4239-8cce-750deae7f4ef" providerId="ADAL" clId="{0FDC7236-0C66-43F6-99AF-1100E6B9ED67}" dt="2022-10-27T13:14:26.602" v="2817" actId="164"/>
          <ac:cxnSpMkLst>
            <pc:docMk/>
            <pc:sldMk cId="4106461626" sldId="265"/>
            <ac:cxnSpMk id="75" creationId="{8A6EEC6D-55C0-47B0-8F0F-D76A2CFBD97B}"/>
          </ac:cxnSpMkLst>
        </pc:cxnChg>
        <pc:cxnChg chg="mod topLvl">
          <ac:chgData name="Ettore Minelli" userId="7870a1ad-01cf-4239-8cce-750deae7f4ef" providerId="ADAL" clId="{0FDC7236-0C66-43F6-99AF-1100E6B9ED67}" dt="2022-10-27T13:14:26.602" v="2817" actId="164"/>
          <ac:cxnSpMkLst>
            <pc:docMk/>
            <pc:sldMk cId="4106461626" sldId="265"/>
            <ac:cxnSpMk id="79" creationId="{6C9FEC1A-32B2-4047-84A0-1AF7EDD368DA}"/>
          </ac:cxnSpMkLst>
        </pc:cxnChg>
        <pc:cxnChg chg="mod topLvl">
          <ac:chgData name="Ettore Minelli" userId="7870a1ad-01cf-4239-8cce-750deae7f4ef" providerId="ADAL" clId="{0FDC7236-0C66-43F6-99AF-1100E6B9ED67}" dt="2022-10-27T13:14:26.602" v="2817" actId="164"/>
          <ac:cxnSpMkLst>
            <pc:docMk/>
            <pc:sldMk cId="4106461626" sldId="265"/>
            <ac:cxnSpMk id="80" creationId="{F46418B5-3BAA-4BE9-AE38-F0808EF1C157}"/>
          </ac:cxnSpMkLst>
        </pc:cxnChg>
        <pc:cxnChg chg="del mod topLvl">
          <ac:chgData name="Ettore Minelli" userId="7870a1ad-01cf-4239-8cce-750deae7f4ef" providerId="ADAL" clId="{0FDC7236-0C66-43F6-99AF-1100E6B9ED67}" dt="2022-10-27T10:35:54.474" v="2537" actId="478"/>
          <ac:cxnSpMkLst>
            <pc:docMk/>
            <pc:sldMk cId="4106461626" sldId="265"/>
            <ac:cxnSpMk id="84" creationId="{3A5A2804-9F11-4D1D-B72A-748EC3DAF298}"/>
          </ac:cxnSpMkLst>
        </pc:cxnChg>
        <pc:cxnChg chg="del mod topLvl">
          <ac:chgData name="Ettore Minelli" userId="7870a1ad-01cf-4239-8cce-750deae7f4ef" providerId="ADAL" clId="{0FDC7236-0C66-43F6-99AF-1100E6B9ED67}" dt="2022-10-27T10:35:53.691" v="2536" actId="478"/>
          <ac:cxnSpMkLst>
            <pc:docMk/>
            <pc:sldMk cId="4106461626" sldId="265"/>
            <ac:cxnSpMk id="85" creationId="{02804BEC-B3DC-41E0-8350-DDFFAEE86F97}"/>
          </ac:cxnSpMkLst>
        </pc:cxnChg>
        <pc:cxnChg chg="mod topLvl">
          <ac:chgData name="Ettore Minelli" userId="7870a1ad-01cf-4239-8cce-750deae7f4ef" providerId="ADAL" clId="{0FDC7236-0C66-43F6-99AF-1100E6B9ED67}" dt="2022-10-27T13:14:26.602" v="2817" actId="164"/>
          <ac:cxnSpMkLst>
            <pc:docMk/>
            <pc:sldMk cId="4106461626" sldId="265"/>
            <ac:cxnSpMk id="100" creationId="{28754F37-EE3D-4F74-9213-61B9BBD6605E}"/>
          </ac:cxnSpMkLst>
        </pc:cxnChg>
        <pc:cxnChg chg="mod topLvl">
          <ac:chgData name="Ettore Minelli" userId="7870a1ad-01cf-4239-8cce-750deae7f4ef" providerId="ADAL" clId="{0FDC7236-0C66-43F6-99AF-1100E6B9ED67}" dt="2022-10-27T13:14:26.602" v="2817" actId="164"/>
          <ac:cxnSpMkLst>
            <pc:docMk/>
            <pc:sldMk cId="4106461626" sldId="265"/>
            <ac:cxnSpMk id="101" creationId="{B8D80670-CF7D-4C52-952C-7CDE213614FD}"/>
          </ac:cxnSpMkLst>
        </pc:cxnChg>
        <pc:cxnChg chg="mod topLvl">
          <ac:chgData name="Ettore Minelli" userId="7870a1ad-01cf-4239-8cce-750deae7f4ef" providerId="ADAL" clId="{0FDC7236-0C66-43F6-99AF-1100E6B9ED67}" dt="2022-10-27T13:14:26.602" v="2817" actId="164"/>
          <ac:cxnSpMkLst>
            <pc:docMk/>
            <pc:sldMk cId="4106461626" sldId="265"/>
            <ac:cxnSpMk id="105" creationId="{86BED045-BD3B-4091-ABB2-7511BF9C9509}"/>
          </ac:cxnSpMkLst>
        </pc:cxnChg>
        <pc:cxnChg chg="mod topLvl">
          <ac:chgData name="Ettore Minelli" userId="7870a1ad-01cf-4239-8cce-750deae7f4ef" providerId="ADAL" clId="{0FDC7236-0C66-43F6-99AF-1100E6B9ED67}" dt="2022-10-27T13:14:26.602" v="2817" actId="164"/>
          <ac:cxnSpMkLst>
            <pc:docMk/>
            <pc:sldMk cId="4106461626" sldId="265"/>
            <ac:cxnSpMk id="106" creationId="{83B41827-4267-4687-948E-72613A2F4E75}"/>
          </ac:cxnSpMkLst>
        </pc:cxnChg>
        <pc:cxnChg chg="mod">
          <ac:chgData name="Ettore Minelli" userId="7870a1ad-01cf-4239-8cce-750deae7f4ef" providerId="ADAL" clId="{0FDC7236-0C66-43F6-99AF-1100E6B9ED67}" dt="2022-10-27T13:14:08.003" v="2815" actId="165"/>
          <ac:cxnSpMkLst>
            <pc:docMk/>
            <pc:sldMk cId="4106461626" sldId="265"/>
            <ac:cxnSpMk id="126" creationId="{C8E3E19B-7E3D-4C0E-A51C-0465A8D487D6}"/>
          </ac:cxnSpMkLst>
        </pc:cxnChg>
        <pc:cxnChg chg="mod">
          <ac:chgData name="Ettore Minelli" userId="7870a1ad-01cf-4239-8cce-750deae7f4ef" providerId="ADAL" clId="{0FDC7236-0C66-43F6-99AF-1100E6B9ED67}" dt="2022-10-27T13:14:08.003" v="2815" actId="165"/>
          <ac:cxnSpMkLst>
            <pc:docMk/>
            <pc:sldMk cId="4106461626" sldId="265"/>
            <ac:cxnSpMk id="127" creationId="{B71D823B-3BDC-48E8-B98D-7E1CC857EEE2}"/>
          </ac:cxnSpMkLst>
        </pc:cxnChg>
        <pc:cxnChg chg="mod">
          <ac:chgData name="Ettore Minelli" userId="7870a1ad-01cf-4239-8cce-750deae7f4ef" providerId="ADAL" clId="{0FDC7236-0C66-43F6-99AF-1100E6B9ED67}" dt="2022-10-27T13:14:08.003" v="2815" actId="165"/>
          <ac:cxnSpMkLst>
            <pc:docMk/>
            <pc:sldMk cId="4106461626" sldId="265"/>
            <ac:cxnSpMk id="131" creationId="{67986E39-E428-4C5D-ABF2-379EFEF30100}"/>
          </ac:cxnSpMkLst>
        </pc:cxnChg>
        <pc:cxnChg chg="mod">
          <ac:chgData name="Ettore Minelli" userId="7870a1ad-01cf-4239-8cce-750deae7f4ef" providerId="ADAL" clId="{0FDC7236-0C66-43F6-99AF-1100E6B9ED67}" dt="2022-10-27T13:14:08.003" v="2815" actId="165"/>
          <ac:cxnSpMkLst>
            <pc:docMk/>
            <pc:sldMk cId="4106461626" sldId="265"/>
            <ac:cxnSpMk id="132" creationId="{69763DE1-75E9-4140-BB09-23E9AB360EE5}"/>
          </ac:cxnSpMkLst>
        </pc:cxnChg>
        <pc:cxnChg chg="del mod">
          <ac:chgData name="Ettore Minelli" userId="7870a1ad-01cf-4239-8cce-750deae7f4ef" providerId="ADAL" clId="{0FDC7236-0C66-43F6-99AF-1100E6B9ED67}" dt="2022-10-27T13:02:37.172" v="2667" actId="478"/>
          <ac:cxnSpMkLst>
            <pc:docMk/>
            <pc:sldMk cId="4106461626" sldId="265"/>
            <ac:cxnSpMk id="136" creationId="{3C580E57-78B9-4C78-ADBF-4B1578C7E98C}"/>
          </ac:cxnSpMkLst>
        </pc:cxnChg>
        <pc:cxnChg chg="del mod">
          <ac:chgData name="Ettore Minelli" userId="7870a1ad-01cf-4239-8cce-750deae7f4ef" providerId="ADAL" clId="{0FDC7236-0C66-43F6-99AF-1100E6B9ED67}" dt="2022-10-27T13:02:33.589" v="2665" actId="478"/>
          <ac:cxnSpMkLst>
            <pc:docMk/>
            <pc:sldMk cId="4106461626" sldId="265"/>
            <ac:cxnSpMk id="137" creationId="{A1501F9A-D409-4AB6-99CA-97DB8A208BB4}"/>
          </ac:cxnSpMkLst>
        </pc:cxnChg>
        <pc:cxnChg chg="mod topLvl">
          <ac:chgData name="Ettore Minelli" userId="7870a1ad-01cf-4239-8cce-750deae7f4ef" providerId="ADAL" clId="{0FDC7236-0C66-43F6-99AF-1100E6B9ED67}" dt="2022-10-27T13:14:26.602" v="2817" actId="164"/>
          <ac:cxnSpMkLst>
            <pc:docMk/>
            <pc:sldMk cId="4106461626" sldId="265"/>
            <ac:cxnSpMk id="150" creationId="{6691BEC7-A53B-4111-8636-BB1A4DBA8F7B}"/>
          </ac:cxnSpMkLst>
        </pc:cxnChg>
        <pc:cxnChg chg="mod topLvl">
          <ac:chgData name="Ettore Minelli" userId="7870a1ad-01cf-4239-8cce-750deae7f4ef" providerId="ADAL" clId="{0FDC7236-0C66-43F6-99AF-1100E6B9ED67}" dt="2022-10-27T13:14:26.602" v="2817" actId="164"/>
          <ac:cxnSpMkLst>
            <pc:docMk/>
            <pc:sldMk cId="4106461626" sldId="265"/>
            <ac:cxnSpMk id="151" creationId="{F057FEE1-80B6-4AD1-8263-289765C347A1}"/>
          </ac:cxnSpMkLst>
        </pc:cxnChg>
      </pc:sldChg>
      <pc:sldChg chg="addSp delSp modSp add mod">
        <pc:chgData name="Ettore Minelli" userId="7870a1ad-01cf-4239-8cce-750deae7f4ef" providerId="ADAL" clId="{0FDC7236-0C66-43F6-99AF-1100E6B9ED67}" dt="2022-10-27T14:38:58.396" v="4178" actId="1076"/>
        <pc:sldMkLst>
          <pc:docMk/>
          <pc:sldMk cId="2091409194" sldId="266"/>
        </pc:sldMkLst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07" creationId="{6A90BCDD-7750-45BC-8736-EFA683CE5ED2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08" creationId="{49BD3705-1501-4874-B659-F9A2D46377B6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09" creationId="{0E180380-4E29-4149-B8A8-6992FE30B7ED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12" creationId="{0520383B-4CA5-466E-A61D-C47D13955656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13" creationId="{590428F1-8AC8-4AA5-B87A-E209A5D8132D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14" creationId="{F8F2BBD2-6B55-40D9-9AFA-1B73FD6A8C3F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17" creationId="{8F1F7B45-0FDA-42D5-89DA-BC66BCBA7A9A}"/>
          </ac:spMkLst>
        </pc:spChg>
        <pc:spChg chg="add del mod">
          <ac:chgData name="Ettore Minelli" userId="7870a1ad-01cf-4239-8cce-750deae7f4ef" providerId="ADAL" clId="{0FDC7236-0C66-43F6-99AF-1100E6B9ED67}" dt="2022-10-27T13:36:38.373" v="3028" actId="478"/>
          <ac:spMkLst>
            <pc:docMk/>
            <pc:sldMk cId="2091409194" sldId="266"/>
            <ac:spMk id="118" creationId="{E57738CE-4EDC-4822-B3DF-B10F427720E7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19" creationId="{92EAFE71-18E0-463D-98A3-CEC25D6784CA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20" creationId="{10803F1C-F3B4-4276-8124-E2961B5E156E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34" creationId="{28E36C2D-5F2A-43AA-8E08-76B72F5D869A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35" creationId="{43301E10-6F16-4990-930C-04D7DA7E83FC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36" creationId="{D043538E-A9F0-426E-9FEA-9CA250B91E03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37" creationId="{3F71DE7C-C4F8-4C4A-8EBD-DA5189751A9D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38" creationId="{5C1E1B2E-7DA4-4404-9AA9-16999E400379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68" creationId="{605C4798-7382-4F5C-B56D-89B765A124CB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72" creationId="{8292F371-C997-42B5-9A6F-B73ED1F64206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75" creationId="{FEA22F35-2774-4473-9CE1-75B0190504C2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76" creationId="{74925FB0-E8B0-4241-92E5-A4AE961D885E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77" creationId="{4910C6E3-0753-4BA1-A5FE-5B097AB4902A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78" creationId="{C305CF61-E60E-4FBD-867A-140D14692EAA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79" creationId="{B16D1DB0-2D64-4C21-8E6C-176D32C070E9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80" creationId="{8C727981-4B1F-48BC-8EE7-DFADA6AA12A2}"/>
          </ac:spMkLst>
        </pc:spChg>
        <pc:spChg chg="add del">
          <ac:chgData name="Ettore Minelli" userId="7870a1ad-01cf-4239-8cce-750deae7f4ef" providerId="ADAL" clId="{0FDC7236-0C66-43F6-99AF-1100E6B9ED67}" dt="2022-10-27T13:49:09.965" v="3404" actId="11529"/>
          <ac:spMkLst>
            <pc:docMk/>
            <pc:sldMk cId="2091409194" sldId="266"/>
            <ac:spMk id="181" creationId="{C9DD0347-CA9E-43CF-9F03-E479E39CEEA7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82" creationId="{9573A2FB-CAEF-4A61-B4D0-1ECA357C5098}"/>
          </ac:spMkLst>
        </pc:spChg>
        <pc:spChg chg="add del mod">
          <ac:chgData name="Ettore Minelli" userId="7870a1ad-01cf-4239-8cce-750deae7f4ef" providerId="ADAL" clId="{0FDC7236-0C66-43F6-99AF-1100E6B9ED67}" dt="2022-10-27T13:49:41.952" v="3411"/>
          <ac:spMkLst>
            <pc:docMk/>
            <pc:sldMk cId="2091409194" sldId="266"/>
            <ac:spMk id="183" creationId="{47825EAD-8D2D-4E4D-8224-17B6E5D5FC0C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84" creationId="{0668E3B2-4925-42C0-8A41-AA81F28F1488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85" creationId="{70B01CCD-69AF-4A64-A0A6-6D9F4D8AD4EB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86" creationId="{02722983-76FB-4E8F-A580-6B21A5BA0500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87" creationId="{2C9CDF4D-A0B8-4072-863A-593E9E77AAB6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88" creationId="{D082854F-5544-4901-AD09-523C38067464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89" creationId="{606D45F8-F063-4793-942F-17A4CF5AF94F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90" creationId="{0889AE2B-F1EC-419F-8EF5-8CCB20182CBA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91" creationId="{6C7E91AE-89DD-4358-B31F-27C65F5C32CD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92" creationId="{2713BDFA-350B-43D8-B4F6-E681944AD991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93" creationId="{6CBB4480-1F67-47EB-8A28-FD10A58A1D0A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94" creationId="{6CB4356C-ABEC-4F98-94B2-1447520812F6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95" creationId="{68BA8092-8A45-41D3-9903-2EC0EC5BBCC8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96" creationId="{038E8BB5-D5AC-47F8-862F-CB8692232F33}"/>
          </ac:spMkLst>
        </pc:spChg>
        <pc:spChg chg="add mo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197" creationId="{324CFF6B-8A14-49AB-9DCB-D8C56486F07D}"/>
          </ac:spMkLst>
        </pc:spChg>
        <pc:spChg chg="add mod or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252" creationId="{421965B5-C5A4-4930-B0B1-7899431F78B8}"/>
          </ac:spMkLst>
        </pc:spChg>
        <pc:spChg chg="add mod or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254" creationId="{58CD5106-6DA3-455D-93D1-557D7C52EC15}"/>
          </ac:spMkLst>
        </pc:spChg>
        <pc:spChg chg="add mod or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255" creationId="{934E1DE0-948D-412D-8583-C44D979D9C9A}"/>
          </ac:spMkLst>
        </pc:spChg>
        <pc:spChg chg="add mod or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256" creationId="{ECC34577-D0C6-4FD5-98F5-03B4B3BA8C18}"/>
          </ac:spMkLst>
        </pc:spChg>
        <pc:spChg chg="add mod or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257" creationId="{0D7136CA-A96C-4E54-B0CD-872D70FF9826}"/>
          </ac:spMkLst>
        </pc:spChg>
        <pc:spChg chg="add mod or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258" creationId="{4FEA572D-0A20-472F-BBAF-88B4ADECF7EE}"/>
          </ac:spMkLst>
        </pc:spChg>
        <pc:spChg chg="add mod ord topLvl">
          <ac:chgData name="Ettore Minelli" userId="7870a1ad-01cf-4239-8cce-750deae7f4ef" providerId="ADAL" clId="{0FDC7236-0C66-43F6-99AF-1100E6B9ED67}" dt="2022-10-27T14:01:31.577" v="3694" actId="165"/>
          <ac:spMkLst>
            <pc:docMk/>
            <pc:sldMk cId="2091409194" sldId="266"/>
            <ac:spMk id="259" creationId="{5D59AB11-FF30-41C3-B196-0C836A9F7075}"/>
          </ac:spMkLst>
        </pc:spChg>
        <pc:spChg chg="add mod">
          <ac:chgData name="Ettore Minelli" userId="7870a1ad-01cf-4239-8cce-750deae7f4ef" providerId="ADAL" clId="{0FDC7236-0C66-43F6-99AF-1100E6B9ED67}" dt="2022-10-27T14:10:06.593" v="3828" actId="164"/>
          <ac:spMkLst>
            <pc:docMk/>
            <pc:sldMk cId="2091409194" sldId="266"/>
            <ac:spMk id="269" creationId="{4A87851B-D6F1-4174-A7F3-E1A83C69DA53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271" creationId="{F0AA990D-2F28-4A8B-9707-9AB1E1F2B9C6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273" creationId="{4483DF01-43DE-491C-B0E4-82268A4BCEE5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274" creationId="{64ACD1C3-48E2-429E-95FA-3DBD0B89346D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275" creationId="{FF3B0CB2-70FB-45C1-A052-79E531CBD99A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276" creationId="{C6AB50CB-E8E9-4275-811E-03997EBC2EB0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277" creationId="{4AD3A274-2353-41B5-8EE6-072C1505827C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281" creationId="{5729D061-6F99-4568-97C9-D7088F2C4E02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282" creationId="{2CCCF507-A926-49DC-BBC4-500CE21F96F8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283" creationId="{3595979B-A745-4D0C-A050-6DD05EB85626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284" creationId="{85565793-DB7D-428A-AE60-8562E909A74F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285" creationId="{A2AEFFB5-5EA2-48F4-B01C-8AABDCA680C4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286" creationId="{6B7439DE-D478-474C-B2A6-072EF9360D81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288" creationId="{B5EE5BF1-36F6-42DA-8024-D7F8AC0D36F3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289" creationId="{609B6A9E-2409-4388-B3FF-E7BD32F245E1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290" creationId="{5AF3A2F6-1055-4673-8679-28A2D6AF201F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291" creationId="{DF12EA89-CDC0-4D56-91E3-F6DEC6CB889E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294" creationId="{A5082059-DBAC-4173-9519-99BDB1301ACD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295" creationId="{3C5B22E8-7D33-49F7-A874-E96152CD0FC6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296" creationId="{8EE3C38B-2435-4547-B090-E99FDB6F8595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299" creationId="{625BA917-2898-460E-A884-F79FACF9A398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00" creationId="{6DEDAC9F-FDF9-47D6-AFE8-1DD7C514C358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01" creationId="{15F5FE58-FA9D-4835-80B1-CEDCC5857432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02" creationId="{6356ED32-D5A0-41F5-B6ED-D10FCE2319B6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03" creationId="{9FC7D053-40F7-4F4A-A3F7-BC30AB41C978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04" creationId="{D9AFCCA4-FC49-4011-A622-BC5E8871A4FD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07" creationId="{BD711738-893D-4DB6-99A6-1B500C18BE8E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08" creationId="{7DB97A4C-295F-426D-B608-8611B8C831FE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09" creationId="{8160964F-437D-4F97-94AB-EB5D881EF50F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12" creationId="{97B59A2F-C9F9-43F8-99EA-90E4ACDB9E90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13" creationId="{4CCE1D3F-61F4-41BC-8B87-2272739A7B82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14" creationId="{FF617DE2-8717-4606-8DB7-403DA78ED5C7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18" creationId="{9716331C-15DB-4310-B9CA-25BE109239B4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19" creationId="{C81E29B8-64AB-4E22-B7E3-AB4323AA75B0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22" creationId="{85A071DC-92F3-45CC-A33A-4AE804B1AF01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23" creationId="{A43BD99A-D23C-46C0-BA35-823B9C57C97F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24" creationId="{87FF63A3-3546-4542-AF76-E279AB092CC5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25" creationId="{2E745C91-38C6-402B-9901-4E58B65EEED8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30" creationId="{DE128263-0B0B-4B78-8F39-D7CF53544A8F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31" creationId="{EDA84603-7EF6-453F-803E-8FB686635147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32" creationId="{4CF3156E-46B4-48CE-954E-AC52B931DB13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35" creationId="{6ACEEA63-5A89-490B-90EA-4CCC50387448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36" creationId="{CE7F2931-8EB8-406C-9103-2C0E4E767D1A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37" creationId="{3765D133-E692-432C-85FE-4F000FEB7A88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38" creationId="{E0A42DE0-BBBE-4032-B24B-CC44CAABCFE6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39" creationId="{0A53D214-A416-4099-83DC-5F260F108198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41" creationId="{1F9F04D7-86F8-4001-9F46-479BB7FCE368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42" creationId="{5EA01119-1091-45DA-BD20-CCA7E02E5D86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43" creationId="{F5D4A1B3-6557-4FE7-A6DA-268B18ABBE4F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46" creationId="{738B79FB-984E-470F-8BCA-B35EB57935B5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47" creationId="{71AE9BF4-8B9C-440C-AFBF-F98EB77DA27B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48" creationId="{A5EDF68F-EBC1-4442-8FB2-BE21E37D1536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51" creationId="{DAEB0806-E42C-431A-A10D-32C67BA1B456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52" creationId="{0EF32EE3-D73E-4B21-8434-AA7EEF268109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53" creationId="{4B3EBFE0-4FFD-405E-9E2B-F1CDE6C0F192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54" creationId="{5B07AD8C-4C7E-4424-9940-6C8A5913558D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55" creationId="{04D1BEAB-09CA-4540-9387-FD1353663F25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56" creationId="{A40FB706-0E9D-4BE6-9C9D-0D6F0DC6EF14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59" creationId="{DC3ADB94-9674-4274-93E7-2FCB090FD49E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60" creationId="{F690362D-310B-4CFB-964A-708965D985BE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61" creationId="{C73A28F2-30FD-46F7-9B3F-13AB122DF18A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64" creationId="{40E07D37-AC95-4BCD-A049-6D3BFE6224A9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65" creationId="{3FDEE044-6241-427B-8F00-DEB5E130C425}"/>
          </ac:spMkLst>
        </pc:spChg>
        <pc:spChg chg="mod">
          <ac:chgData name="Ettore Minelli" userId="7870a1ad-01cf-4239-8cce-750deae7f4ef" providerId="ADAL" clId="{0FDC7236-0C66-43F6-99AF-1100E6B9ED67}" dt="2022-10-27T14:03:07.385" v="3713"/>
          <ac:spMkLst>
            <pc:docMk/>
            <pc:sldMk cId="2091409194" sldId="266"/>
            <ac:spMk id="366" creationId="{B0B7FDD5-3079-467B-B615-F1FCDCE52296}"/>
          </ac:spMkLst>
        </pc:spChg>
        <pc:spChg chg="add mod">
          <ac:chgData name="Ettore Minelli" userId="7870a1ad-01cf-4239-8cce-750deae7f4ef" providerId="ADAL" clId="{0FDC7236-0C66-43F6-99AF-1100E6B9ED67}" dt="2022-10-27T14:10:06.593" v="3828" actId="164"/>
          <ac:spMkLst>
            <pc:docMk/>
            <pc:sldMk cId="2091409194" sldId="266"/>
            <ac:spMk id="369" creationId="{02F4C7E2-80BE-43CF-A4B6-1011D554D283}"/>
          </ac:spMkLst>
        </pc:spChg>
        <pc:spChg chg="add mod">
          <ac:chgData name="Ettore Minelli" userId="7870a1ad-01cf-4239-8cce-750deae7f4ef" providerId="ADAL" clId="{0FDC7236-0C66-43F6-99AF-1100E6B9ED67}" dt="2022-10-27T14:10:06.593" v="3828" actId="164"/>
          <ac:spMkLst>
            <pc:docMk/>
            <pc:sldMk cId="2091409194" sldId="266"/>
            <ac:spMk id="370" creationId="{7335D23B-C24B-4A2E-8374-7B8A514A19D4}"/>
          </ac:spMkLst>
        </pc:spChg>
        <pc:spChg chg="add mod">
          <ac:chgData name="Ettore Minelli" userId="7870a1ad-01cf-4239-8cce-750deae7f4ef" providerId="ADAL" clId="{0FDC7236-0C66-43F6-99AF-1100E6B9ED67}" dt="2022-10-27T14:10:06.593" v="3828" actId="164"/>
          <ac:spMkLst>
            <pc:docMk/>
            <pc:sldMk cId="2091409194" sldId="266"/>
            <ac:spMk id="371" creationId="{913A7436-41F9-44D2-ABE0-C112579081FA}"/>
          </ac:spMkLst>
        </pc:spChg>
        <pc:spChg chg="add mod">
          <ac:chgData name="Ettore Minelli" userId="7870a1ad-01cf-4239-8cce-750deae7f4ef" providerId="ADAL" clId="{0FDC7236-0C66-43F6-99AF-1100E6B9ED67}" dt="2022-10-27T14:10:06.593" v="3828" actId="164"/>
          <ac:spMkLst>
            <pc:docMk/>
            <pc:sldMk cId="2091409194" sldId="266"/>
            <ac:spMk id="372" creationId="{04C9E899-9CCB-4CC5-809D-FAA4B114BA35}"/>
          </ac:spMkLst>
        </pc:spChg>
        <pc:spChg chg="add mod">
          <ac:chgData name="Ettore Minelli" userId="7870a1ad-01cf-4239-8cce-750deae7f4ef" providerId="ADAL" clId="{0FDC7236-0C66-43F6-99AF-1100E6B9ED67}" dt="2022-10-27T14:10:06.593" v="3828" actId="164"/>
          <ac:spMkLst>
            <pc:docMk/>
            <pc:sldMk cId="2091409194" sldId="266"/>
            <ac:spMk id="373" creationId="{4CAFDA44-CC99-4A0D-88A3-3BEFF8D8841D}"/>
          </ac:spMkLst>
        </pc:spChg>
        <pc:spChg chg="add mod">
          <ac:chgData name="Ettore Minelli" userId="7870a1ad-01cf-4239-8cce-750deae7f4ef" providerId="ADAL" clId="{0FDC7236-0C66-43F6-99AF-1100E6B9ED67}" dt="2022-10-27T14:10:06.593" v="3828" actId="164"/>
          <ac:spMkLst>
            <pc:docMk/>
            <pc:sldMk cId="2091409194" sldId="266"/>
            <ac:spMk id="374" creationId="{26C1B5E2-D49F-4651-A075-AF989EB87244}"/>
          </ac:spMkLst>
        </pc:spChg>
        <pc:spChg chg="add mod">
          <ac:chgData name="Ettore Minelli" userId="7870a1ad-01cf-4239-8cce-750deae7f4ef" providerId="ADAL" clId="{0FDC7236-0C66-43F6-99AF-1100E6B9ED67}" dt="2022-10-27T14:10:06.593" v="3828" actId="164"/>
          <ac:spMkLst>
            <pc:docMk/>
            <pc:sldMk cId="2091409194" sldId="266"/>
            <ac:spMk id="375" creationId="{046C9FE4-3746-4E9D-8583-D063186C5252}"/>
          </ac:spMkLst>
        </pc:spChg>
        <pc:spChg chg="add mod">
          <ac:chgData name="Ettore Minelli" userId="7870a1ad-01cf-4239-8cce-750deae7f4ef" providerId="ADAL" clId="{0FDC7236-0C66-43F6-99AF-1100E6B9ED67}" dt="2022-10-27T14:10:06.593" v="3828" actId="164"/>
          <ac:spMkLst>
            <pc:docMk/>
            <pc:sldMk cId="2091409194" sldId="266"/>
            <ac:spMk id="376" creationId="{55354FE6-5780-4D92-8478-5B54BEE06154}"/>
          </ac:spMkLst>
        </pc:spChg>
        <pc:spChg chg="add mod">
          <ac:chgData name="Ettore Minelli" userId="7870a1ad-01cf-4239-8cce-750deae7f4ef" providerId="ADAL" clId="{0FDC7236-0C66-43F6-99AF-1100E6B9ED67}" dt="2022-10-27T14:10:06.593" v="3828" actId="164"/>
          <ac:spMkLst>
            <pc:docMk/>
            <pc:sldMk cId="2091409194" sldId="266"/>
            <ac:spMk id="377" creationId="{3322A8AC-45A3-41DE-803C-4FF4F72F3290}"/>
          </ac:spMkLst>
        </pc:spChg>
        <pc:spChg chg="add mod">
          <ac:chgData name="Ettore Minelli" userId="7870a1ad-01cf-4239-8cce-750deae7f4ef" providerId="ADAL" clId="{0FDC7236-0C66-43F6-99AF-1100E6B9ED67}" dt="2022-10-27T14:38:58.396" v="4178" actId="1076"/>
          <ac:spMkLst>
            <pc:docMk/>
            <pc:sldMk cId="2091409194" sldId="266"/>
            <ac:spMk id="379" creationId="{CA24B44E-AC11-4BF6-84E0-2F6373FDE386}"/>
          </ac:spMkLst>
        </pc:spChg>
        <pc:grpChg chg="del">
          <ac:chgData name="Ettore Minelli" userId="7870a1ad-01cf-4239-8cce-750deae7f4ef" providerId="ADAL" clId="{0FDC7236-0C66-43F6-99AF-1100E6B9ED67}" dt="2022-10-27T13:33:35.968" v="2993" actId="478"/>
          <ac:grpSpMkLst>
            <pc:docMk/>
            <pc:sldMk cId="2091409194" sldId="266"/>
            <ac:grpSpMk id="20" creationId="{E36A9704-D08D-4702-8CAE-0CA5D4A6B159}"/>
          </ac:grpSpMkLst>
        </pc:grpChg>
        <pc:grpChg chg="add del mod">
          <ac:chgData name="Ettore Minelli" userId="7870a1ad-01cf-4239-8cce-750deae7f4ef" providerId="ADAL" clId="{0FDC7236-0C66-43F6-99AF-1100E6B9ED67}" dt="2022-10-27T13:56:43.884" v="3520" actId="165"/>
          <ac:grpSpMkLst>
            <pc:docMk/>
            <pc:sldMk cId="2091409194" sldId="266"/>
            <ac:grpSpMk id="171" creationId="{92B208F1-6981-41C7-9DFE-90F909870E92}"/>
          </ac:grpSpMkLst>
        </pc:grpChg>
        <pc:grpChg chg="add del mod">
          <ac:chgData name="Ettore Minelli" userId="7870a1ad-01cf-4239-8cce-750deae7f4ef" providerId="ADAL" clId="{0FDC7236-0C66-43F6-99AF-1100E6B9ED67}" dt="2022-10-27T13:56:43.884" v="3520" actId="165"/>
          <ac:grpSpMkLst>
            <pc:docMk/>
            <pc:sldMk cId="2091409194" sldId="266"/>
            <ac:grpSpMk id="249" creationId="{F2E8BB1F-5E9F-4079-ADB3-4F2544E1E2EE}"/>
          </ac:grpSpMkLst>
        </pc:grpChg>
        <pc:grpChg chg="add del mod topLvl">
          <ac:chgData name="Ettore Minelli" userId="7870a1ad-01cf-4239-8cce-750deae7f4ef" providerId="ADAL" clId="{0FDC7236-0C66-43F6-99AF-1100E6B9ED67}" dt="2022-10-27T14:02:03.660" v="3697" actId="164"/>
          <ac:grpSpMkLst>
            <pc:docMk/>
            <pc:sldMk cId="2091409194" sldId="266"/>
            <ac:grpSpMk id="250" creationId="{219C5D4B-266D-4126-86A2-A107F78F99EE}"/>
          </ac:grpSpMkLst>
        </pc:grpChg>
        <pc:grpChg chg="add del mod">
          <ac:chgData name="Ettore Minelli" userId="7870a1ad-01cf-4239-8cce-750deae7f4ef" providerId="ADAL" clId="{0FDC7236-0C66-43F6-99AF-1100E6B9ED67}" dt="2022-10-27T13:57:09.770" v="3523" actId="165"/>
          <ac:grpSpMkLst>
            <pc:docMk/>
            <pc:sldMk cId="2091409194" sldId="266"/>
            <ac:grpSpMk id="251" creationId="{EC55319E-58EA-40EB-904B-766813BCDE11}"/>
          </ac:grpSpMkLst>
        </pc:grpChg>
        <pc:grpChg chg="add del mod">
          <ac:chgData name="Ettore Minelli" userId="7870a1ad-01cf-4239-8cce-750deae7f4ef" providerId="ADAL" clId="{0FDC7236-0C66-43F6-99AF-1100E6B9ED67}" dt="2022-10-27T13:58:03.932" v="3535" actId="165"/>
          <ac:grpSpMkLst>
            <pc:docMk/>
            <pc:sldMk cId="2091409194" sldId="266"/>
            <ac:grpSpMk id="260" creationId="{B443F274-2CF8-4F01-96A3-BFCCFF764BB3}"/>
          </ac:grpSpMkLst>
        </pc:grpChg>
        <pc:grpChg chg="add del mod">
          <ac:chgData name="Ettore Minelli" userId="7870a1ad-01cf-4239-8cce-750deae7f4ef" providerId="ADAL" clId="{0FDC7236-0C66-43F6-99AF-1100E6B9ED67}" dt="2022-10-27T13:58:03.932" v="3535" actId="165"/>
          <ac:grpSpMkLst>
            <pc:docMk/>
            <pc:sldMk cId="2091409194" sldId="266"/>
            <ac:grpSpMk id="261" creationId="{D71B4960-B3CD-4C3A-A150-668A843E53FF}"/>
          </ac:grpSpMkLst>
        </pc:grpChg>
        <pc:grpChg chg="add del mod">
          <ac:chgData name="Ettore Minelli" userId="7870a1ad-01cf-4239-8cce-750deae7f4ef" providerId="ADAL" clId="{0FDC7236-0C66-43F6-99AF-1100E6B9ED67}" dt="2022-10-27T13:58:07.631" v="3536" actId="165"/>
          <ac:grpSpMkLst>
            <pc:docMk/>
            <pc:sldMk cId="2091409194" sldId="266"/>
            <ac:grpSpMk id="262" creationId="{FC7A83FA-1C2D-424A-A139-4C1A336240EE}"/>
          </ac:grpSpMkLst>
        </pc:grpChg>
        <pc:grpChg chg="add del mod topLvl">
          <ac:chgData name="Ettore Minelli" userId="7870a1ad-01cf-4239-8cce-750deae7f4ef" providerId="ADAL" clId="{0FDC7236-0C66-43F6-99AF-1100E6B9ED67}" dt="2022-10-27T14:02:07.576" v="3698" actId="164"/>
          <ac:grpSpMkLst>
            <pc:docMk/>
            <pc:sldMk cId="2091409194" sldId="266"/>
            <ac:grpSpMk id="263" creationId="{E69240F3-DF19-46DB-AC8A-781A4F86E217}"/>
          </ac:grpSpMkLst>
        </pc:grpChg>
        <pc:grpChg chg="add del mod topLvl">
          <ac:chgData name="Ettore Minelli" userId="7870a1ad-01cf-4239-8cce-750deae7f4ef" providerId="ADAL" clId="{0FDC7236-0C66-43F6-99AF-1100E6B9ED67}" dt="2022-10-27T14:02:07.576" v="3698" actId="164"/>
          <ac:grpSpMkLst>
            <pc:docMk/>
            <pc:sldMk cId="2091409194" sldId="266"/>
            <ac:grpSpMk id="264" creationId="{21A1FE01-B481-4842-88A4-783261F13B0D}"/>
          </ac:grpSpMkLst>
        </pc:grpChg>
        <pc:grpChg chg="add del mod topLvl">
          <ac:chgData name="Ettore Minelli" userId="7870a1ad-01cf-4239-8cce-750deae7f4ef" providerId="ADAL" clId="{0FDC7236-0C66-43F6-99AF-1100E6B9ED67}" dt="2022-10-27T14:02:03.660" v="3697" actId="164"/>
          <ac:grpSpMkLst>
            <pc:docMk/>
            <pc:sldMk cId="2091409194" sldId="266"/>
            <ac:grpSpMk id="265" creationId="{980D7D4B-E84D-4762-92DB-5C6C7CC5AD99}"/>
          </ac:grpSpMkLst>
        </pc:grpChg>
        <pc:grpChg chg="add del mod">
          <ac:chgData name="Ettore Minelli" userId="7870a1ad-01cf-4239-8cce-750deae7f4ef" providerId="ADAL" clId="{0FDC7236-0C66-43F6-99AF-1100E6B9ED67}" dt="2022-10-27T14:01:31.577" v="3694" actId="165"/>
          <ac:grpSpMkLst>
            <pc:docMk/>
            <pc:sldMk cId="2091409194" sldId="266"/>
            <ac:grpSpMk id="266" creationId="{4CB0DBA5-C8E8-4B72-B3C3-EFE21E96FB06}"/>
          </ac:grpSpMkLst>
        </pc:grpChg>
        <pc:grpChg chg="add mod">
          <ac:chgData name="Ettore Minelli" userId="7870a1ad-01cf-4239-8cce-750deae7f4ef" providerId="ADAL" clId="{0FDC7236-0C66-43F6-99AF-1100E6B9ED67}" dt="2022-10-27T14:10:06.593" v="3828" actId="164"/>
          <ac:grpSpMkLst>
            <pc:docMk/>
            <pc:sldMk cId="2091409194" sldId="266"/>
            <ac:grpSpMk id="267" creationId="{C7E8049C-F9DA-4356-8195-11ADE3CAF1B2}"/>
          </ac:grpSpMkLst>
        </pc:grpChg>
        <pc:grpChg chg="add mod">
          <ac:chgData name="Ettore Minelli" userId="7870a1ad-01cf-4239-8cce-750deae7f4ef" providerId="ADAL" clId="{0FDC7236-0C66-43F6-99AF-1100E6B9ED67}" dt="2022-10-27T14:10:06.593" v="3828" actId="164"/>
          <ac:grpSpMkLst>
            <pc:docMk/>
            <pc:sldMk cId="2091409194" sldId="266"/>
            <ac:grpSpMk id="268" creationId="{54A81B9F-AB71-4C63-878F-07E1822CFF78}"/>
          </ac:grpSpMkLst>
        </pc:grpChg>
        <pc:grpChg chg="add del mod">
          <ac:chgData name="Ettore Minelli" userId="7870a1ad-01cf-4239-8cce-750deae7f4ef" providerId="ADAL" clId="{0FDC7236-0C66-43F6-99AF-1100E6B9ED67}" dt="2022-10-27T14:03:14.338" v="3714" actId="478"/>
          <ac:grpSpMkLst>
            <pc:docMk/>
            <pc:sldMk cId="2091409194" sldId="266"/>
            <ac:grpSpMk id="270" creationId="{99311C4C-4DBA-48D5-ACC4-EC1E8901DD0A}"/>
          </ac:grpSpMkLst>
        </pc:grpChg>
        <pc:grpChg chg="mod">
          <ac:chgData name="Ettore Minelli" userId="7870a1ad-01cf-4239-8cce-750deae7f4ef" providerId="ADAL" clId="{0FDC7236-0C66-43F6-99AF-1100E6B9ED67}" dt="2022-10-27T14:03:07.385" v="3713"/>
          <ac:grpSpMkLst>
            <pc:docMk/>
            <pc:sldMk cId="2091409194" sldId="266"/>
            <ac:grpSpMk id="278" creationId="{0982E363-3F95-46CC-B7D7-F0205D9912B5}"/>
          </ac:grpSpMkLst>
        </pc:grpChg>
        <pc:grpChg chg="mod">
          <ac:chgData name="Ettore Minelli" userId="7870a1ad-01cf-4239-8cce-750deae7f4ef" providerId="ADAL" clId="{0FDC7236-0C66-43F6-99AF-1100E6B9ED67}" dt="2022-10-27T14:03:07.385" v="3713"/>
          <ac:grpSpMkLst>
            <pc:docMk/>
            <pc:sldMk cId="2091409194" sldId="266"/>
            <ac:grpSpMk id="279" creationId="{A300F2AA-8BB1-45EF-AC1F-771A1A1B2024}"/>
          </ac:grpSpMkLst>
        </pc:grpChg>
        <pc:grpChg chg="mod">
          <ac:chgData name="Ettore Minelli" userId="7870a1ad-01cf-4239-8cce-750deae7f4ef" providerId="ADAL" clId="{0FDC7236-0C66-43F6-99AF-1100E6B9ED67}" dt="2022-10-27T14:03:07.385" v="3713"/>
          <ac:grpSpMkLst>
            <pc:docMk/>
            <pc:sldMk cId="2091409194" sldId="266"/>
            <ac:grpSpMk id="280" creationId="{A05E87EF-6763-4DC4-8A64-7B7388DF7189}"/>
          </ac:grpSpMkLst>
        </pc:grpChg>
        <pc:grpChg chg="mod">
          <ac:chgData name="Ettore Minelli" userId="7870a1ad-01cf-4239-8cce-750deae7f4ef" providerId="ADAL" clId="{0FDC7236-0C66-43F6-99AF-1100E6B9ED67}" dt="2022-10-27T14:03:07.385" v="3713"/>
          <ac:grpSpMkLst>
            <pc:docMk/>
            <pc:sldMk cId="2091409194" sldId="266"/>
            <ac:grpSpMk id="287" creationId="{43CD7AF7-B36A-49A2-A891-4480BEB03F2D}"/>
          </ac:grpSpMkLst>
        </pc:grpChg>
        <pc:grpChg chg="mod">
          <ac:chgData name="Ettore Minelli" userId="7870a1ad-01cf-4239-8cce-750deae7f4ef" providerId="ADAL" clId="{0FDC7236-0C66-43F6-99AF-1100E6B9ED67}" dt="2022-10-27T14:03:07.385" v="3713"/>
          <ac:grpSpMkLst>
            <pc:docMk/>
            <pc:sldMk cId="2091409194" sldId="266"/>
            <ac:grpSpMk id="320" creationId="{7F682AAE-DFC6-435E-B235-8E404F8A270E}"/>
          </ac:grpSpMkLst>
        </pc:grpChg>
        <pc:grpChg chg="mod">
          <ac:chgData name="Ettore Minelli" userId="7870a1ad-01cf-4239-8cce-750deae7f4ef" providerId="ADAL" clId="{0FDC7236-0C66-43F6-99AF-1100E6B9ED67}" dt="2022-10-27T14:03:07.385" v="3713"/>
          <ac:grpSpMkLst>
            <pc:docMk/>
            <pc:sldMk cId="2091409194" sldId="266"/>
            <ac:grpSpMk id="321" creationId="{A3665BCB-5BF3-4F4F-84EF-8F6B40D065E4}"/>
          </ac:grpSpMkLst>
        </pc:grpChg>
        <pc:grpChg chg="add mod">
          <ac:chgData name="Ettore Minelli" userId="7870a1ad-01cf-4239-8cce-750deae7f4ef" providerId="ADAL" clId="{0FDC7236-0C66-43F6-99AF-1100E6B9ED67}" dt="2022-10-27T14:10:06.593" v="3828" actId="164"/>
          <ac:grpSpMkLst>
            <pc:docMk/>
            <pc:sldMk cId="2091409194" sldId="266"/>
            <ac:grpSpMk id="378" creationId="{58E76FB4-D432-4587-B364-7E12FE4831AE}"/>
          </ac:grpSpMkLst>
        </pc:grpChg>
        <pc:picChg chg="mod">
          <ac:chgData name="Ettore Minelli" userId="7870a1ad-01cf-4239-8cce-750deae7f4ef" providerId="ADAL" clId="{0FDC7236-0C66-43F6-99AF-1100E6B9ED67}" dt="2022-10-27T14:03:07.385" v="3713"/>
          <ac:picMkLst>
            <pc:docMk/>
            <pc:sldMk cId="2091409194" sldId="266"/>
            <ac:picMk id="326" creationId="{C5DAA2C9-A433-4D02-8838-1DFA83DBF7C4}"/>
          </ac:picMkLst>
        </pc:picChg>
        <pc:picChg chg="mod">
          <ac:chgData name="Ettore Minelli" userId="7870a1ad-01cf-4239-8cce-750deae7f4ef" providerId="ADAL" clId="{0FDC7236-0C66-43F6-99AF-1100E6B9ED67}" dt="2022-10-27T14:03:07.385" v="3713"/>
          <ac:picMkLst>
            <pc:docMk/>
            <pc:sldMk cId="2091409194" sldId="266"/>
            <ac:picMk id="327" creationId="{3FE20168-189E-47DC-8DA0-16E761B6F932}"/>
          </ac:picMkLst>
        </pc:picChg>
        <pc:picChg chg="mod">
          <ac:chgData name="Ettore Minelli" userId="7870a1ad-01cf-4239-8cce-750deae7f4ef" providerId="ADAL" clId="{0FDC7236-0C66-43F6-99AF-1100E6B9ED67}" dt="2022-10-27T14:03:07.385" v="3713"/>
          <ac:picMkLst>
            <pc:docMk/>
            <pc:sldMk cId="2091409194" sldId="266"/>
            <ac:picMk id="328" creationId="{5F4BD835-C05C-4A69-AAFD-B26EDF0253BA}"/>
          </ac:picMkLst>
        </pc:picChg>
        <pc:picChg chg="mod">
          <ac:chgData name="Ettore Minelli" userId="7870a1ad-01cf-4239-8cce-750deae7f4ef" providerId="ADAL" clId="{0FDC7236-0C66-43F6-99AF-1100E6B9ED67}" dt="2022-10-27T14:03:07.385" v="3713"/>
          <ac:picMkLst>
            <pc:docMk/>
            <pc:sldMk cId="2091409194" sldId="266"/>
            <ac:picMk id="329" creationId="{FA4B42B4-3828-4F7D-AF74-5672717F58F4}"/>
          </ac:picMkLst>
        </pc:picChg>
        <pc:picChg chg="mod">
          <ac:chgData name="Ettore Minelli" userId="7870a1ad-01cf-4239-8cce-750deae7f4ef" providerId="ADAL" clId="{0FDC7236-0C66-43F6-99AF-1100E6B9ED67}" dt="2022-10-27T14:03:07.385" v="3713"/>
          <ac:picMkLst>
            <pc:docMk/>
            <pc:sldMk cId="2091409194" sldId="266"/>
            <ac:picMk id="340" creationId="{A2F4C180-BCEF-4447-8DB2-89F556C7E3FF}"/>
          </ac:picMkLst>
        </pc:picChg>
        <pc:cxnChg chg="add del mod">
          <ac:chgData name="Ettore Minelli" userId="7870a1ad-01cf-4239-8cce-750deae7f4ef" providerId="ADAL" clId="{0FDC7236-0C66-43F6-99AF-1100E6B9ED67}" dt="2022-10-27T13:37:32.906" v="3033" actId="478"/>
          <ac:cxnSpMkLst>
            <pc:docMk/>
            <pc:sldMk cId="2091409194" sldId="266"/>
            <ac:cxnSpMk id="4" creationId="{14405BBA-2A7B-48FC-9912-147237231B1D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13" creationId="{01535A64-1B88-4334-9E78-F921E2647D89}"/>
          </ac:cxnSpMkLst>
        </pc:cxnChg>
        <pc:cxnChg chg="mod">
          <ac:chgData name="Ettore Minelli" userId="7870a1ad-01cf-4239-8cce-750deae7f4ef" providerId="ADAL" clId="{0FDC7236-0C66-43F6-99AF-1100E6B9ED67}" dt="2022-10-27T13:33:35.968" v="2993" actId="478"/>
          <ac:cxnSpMkLst>
            <pc:docMk/>
            <pc:sldMk cId="2091409194" sldId="266"/>
            <ac:cxnSpMk id="19" creationId="{4098EEAC-3881-46CE-A9C3-DC6F184A138E}"/>
          </ac:cxnSpMkLst>
        </pc:cxnChg>
        <pc:cxnChg chg="mod">
          <ac:chgData name="Ettore Minelli" userId="7870a1ad-01cf-4239-8cce-750deae7f4ef" providerId="ADAL" clId="{0FDC7236-0C66-43F6-99AF-1100E6B9ED67}" dt="2022-10-27T13:33:35.968" v="2993" actId="478"/>
          <ac:cxnSpMkLst>
            <pc:docMk/>
            <pc:sldMk cId="2091409194" sldId="266"/>
            <ac:cxnSpMk id="23" creationId="{6D97D33F-6593-457C-A3B3-881075C45A4D}"/>
          </ac:cxnSpMkLst>
        </pc:cxnChg>
        <pc:cxnChg chg="mod">
          <ac:chgData name="Ettore Minelli" userId="7870a1ad-01cf-4239-8cce-750deae7f4ef" providerId="ADAL" clId="{0FDC7236-0C66-43F6-99AF-1100E6B9ED67}" dt="2022-10-27T13:33:35.968" v="2993" actId="478"/>
          <ac:cxnSpMkLst>
            <pc:docMk/>
            <pc:sldMk cId="2091409194" sldId="266"/>
            <ac:cxnSpMk id="32" creationId="{F4851A18-A118-4269-A215-A4A44D872782}"/>
          </ac:cxnSpMkLst>
        </pc:cxnChg>
        <pc:cxnChg chg="mod">
          <ac:chgData name="Ettore Minelli" userId="7870a1ad-01cf-4239-8cce-750deae7f4ef" providerId="ADAL" clId="{0FDC7236-0C66-43F6-99AF-1100E6B9ED67}" dt="2022-10-27T13:33:35.968" v="2993" actId="478"/>
          <ac:cxnSpMkLst>
            <pc:docMk/>
            <pc:sldMk cId="2091409194" sldId="266"/>
            <ac:cxnSpMk id="33" creationId="{178276FD-71AF-410C-B917-C4428F1A00D9}"/>
          </ac:cxnSpMkLst>
        </pc:cxnChg>
        <pc:cxnChg chg="mod">
          <ac:chgData name="Ettore Minelli" userId="7870a1ad-01cf-4239-8cce-750deae7f4ef" providerId="ADAL" clId="{0FDC7236-0C66-43F6-99AF-1100E6B9ED67}" dt="2022-10-27T13:33:35.968" v="2993" actId="478"/>
          <ac:cxnSpMkLst>
            <pc:docMk/>
            <pc:sldMk cId="2091409194" sldId="266"/>
            <ac:cxnSpMk id="38" creationId="{E90064C6-4674-41F7-8921-3E4AC488E5E7}"/>
          </ac:cxnSpMkLst>
        </pc:cxnChg>
        <pc:cxnChg chg="mod">
          <ac:chgData name="Ettore Minelli" userId="7870a1ad-01cf-4239-8cce-750deae7f4ef" providerId="ADAL" clId="{0FDC7236-0C66-43F6-99AF-1100E6B9ED67}" dt="2022-10-27T13:33:35.968" v="2993" actId="478"/>
          <ac:cxnSpMkLst>
            <pc:docMk/>
            <pc:sldMk cId="2091409194" sldId="266"/>
            <ac:cxnSpMk id="39" creationId="{CD21B90E-7234-4D0A-8E04-CB5307453272}"/>
          </ac:cxnSpMkLst>
        </pc:cxnChg>
        <pc:cxnChg chg="add del mod">
          <ac:chgData name="Ettore Minelli" userId="7870a1ad-01cf-4239-8cce-750deae7f4ef" providerId="ADAL" clId="{0FDC7236-0C66-43F6-99AF-1100E6B9ED67}" dt="2022-10-27T13:38:15.522" v="3043" actId="11529"/>
          <ac:cxnSpMkLst>
            <pc:docMk/>
            <pc:sldMk cId="2091409194" sldId="266"/>
            <ac:cxnSpMk id="43" creationId="{5F34423E-43B2-4F75-9446-DE5692D3C14D}"/>
          </ac:cxnSpMkLst>
        </pc:cxnChg>
        <pc:cxnChg chg="add del mod">
          <ac:chgData name="Ettore Minelli" userId="7870a1ad-01cf-4239-8cce-750deae7f4ef" providerId="ADAL" clId="{0FDC7236-0C66-43F6-99AF-1100E6B9ED67}" dt="2022-10-27T13:38:19.807" v="3045" actId="11529"/>
          <ac:cxnSpMkLst>
            <pc:docMk/>
            <pc:sldMk cId="2091409194" sldId="266"/>
            <ac:cxnSpMk id="45" creationId="{36E7B66E-7EBA-4F60-8F44-68265BFF7E9D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47" creationId="{8387AC26-8848-41D9-8BFF-AB80AA2DFB4F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49" creationId="{36F89B8B-53D4-4F84-8CC0-91E32BC87DCC}"/>
          </ac:cxnSpMkLst>
        </pc:cxnChg>
        <pc:cxnChg chg="add del mod">
          <ac:chgData name="Ettore Minelli" userId="7870a1ad-01cf-4239-8cce-750deae7f4ef" providerId="ADAL" clId="{0FDC7236-0C66-43F6-99AF-1100E6B9ED67}" dt="2022-10-27T13:38:50.621" v="3051" actId="11529"/>
          <ac:cxnSpMkLst>
            <pc:docMk/>
            <pc:sldMk cId="2091409194" sldId="266"/>
            <ac:cxnSpMk id="51" creationId="{FE8D81DF-AB2A-4333-95D1-7A9D0274B408}"/>
          </ac:cxnSpMkLst>
        </pc:cxnChg>
        <pc:cxnChg chg="add del mod">
          <ac:chgData name="Ettore Minelli" userId="7870a1ad-01cf-4239-8cce-750deae7f4ef" providerId="ADAL" clId="{0FDC7236-0C66-43F6-99AF-1100E6B9ED67}" dt="2022-10-27T13:38:59.330" v="3053" actId="11529"/>
          <ac:cxnSpMkLst>
            <pc:docMk/>
            <pc:sldMk cId="2091409194" sldId="266"/>
            <ac:cxnSpMk id="53" creationId="{38BB5D3E-9C92-4CAA-A62E-B2096F1E6101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55" creationId="{EF7000B5-0DC7-40AA-8808-F4002A69430E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60" creationId="{A19AA0FB-ACAF-439D-BDB9-90EBD111E21D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62" creationId="{ED03F9EB-FE02-496A-A905-D1AB7D875DC9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69" creationId="{8CE5EA40-AA63-44D2-97EB-23E12B72E6C2}"/>
          </ac:cxnSpMkLst>
        </pc:cxnChg>
        <pc:cxnChg chg="mod">
          <ac:chgData name="Ettore Minelli" userId="7870a1ad-01cf-4239-8cce-750deae7f4ef" providerId="ADAL" clId="{0FDC7236-0C66-43F6-99AF-1100E6B9ED67}" dt="2022-10-27T13:33:35.968" v="2993" actId="478"/>
          <ac:cxnSpMkLst>
            <pc:docMk/>
            <pc:sldMk cId="2091409194" sldId="266"/>
            <ac:cxnSpMk id="74" creationId="{D04382A7-957E-4E36-B585-4DDE9607DFB7}"/>
          </ac:cxnSpMkLst>
        </pc:cxnChg>
        <pc:cxnChg chg="mod">
          <ac:chgData name="Ettore Minelli" userId="7870a1ad-01cf-4239-8cce-750deae7f4ef" providerId="ADAL" clId="{0FDC7236-0C66-43F6-99AF-1100E6B9ED67}" dt="2022-10-27T13:33:35.968" v="2993" actId="478"/>
          <ac:cxnSpMkLst>
            <pc:docMk/>
            <pc:sldMk cId="2091409194" sldId="266"/>
            <ac:cxnSpMk id="75" creationId="{8A6EEC6D-55C0-47B0-8F0F-D76A2CFBD97B}"/>
          </ac:cxnSpMkLst>
        </pc:cxnChg>
        <pc:cxnChg chg="mod">
          <ac:chgData name="Ettore Minelli" userId="7870a1ad-01cf-4239-8cce-750deae7f4ef" providerId="ADAL" clId="{0FDC7236-0C66-43F6-99AF-1100E6B9ED67}" dt="2022-10-27T13:33:35.968" v="2993" actId="478"/>
          <ac:cxnSpMkLst>
            <pc:docMk/>
            <pc:sldMk cId="2091409194" sldId="266"/>
            <ac:cxnSpMk id="79" creationId="{6C9FEC1A-32B2-4047-84A0-1AF7EDD368DA}"/>
          </ac:cxnSpMkLst>
        </pc:cxnChg>
        <pc:cxnChg chg="mod">
          <ac:chgData name="Ettore Minelli" userId="7870a1ad-01cf-4239-8cce-750deae7f4ef" providerId="ADAL" clId="{0FDC7236-0C66-43F6-99AF-1100E6B9ED67}" dt="2022-10-27T13:33:35.968" v="2993" actId="478"/>
          <ac:cxnSpMkLst>
            <pc:docMk/>
            <pc:sldMk cId="2091409194" sldId="266"/>
            <ac:cxnSpMk id="80" creationId="{F46418B5-3BAA-4BE9-AE38-F0808EF1C157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82" creationId="{E0AEC96C-B5E2-4D5F-8041-74C6B8CC3B93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85" creationId="{F9481618-C4E6-4875-A42E-052A5FD22412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89" creationId="{D3D99A52-0000-4352-9925-D78544BC2D46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93" creationId="{E2F0F956-70BC-4EBC-898A-34081F2CB462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96" creationId="{AD87F0A7-8979-4F5C-A26D-1B0F00FAF19E}"/>
          </ac:cxnSpMkLst>
        </pc:cxnChg>
        <pc:cxnChg chg="mod">
          <ac:chgData name="Ettore Minelli" userId="7870a1ad-01cf-4239-8cce-750deae7f4ef" providerId="ADAL" clId="{0FDC7236-0C66-43F6-99AF-1100E6B9ED67}" dt="2022-10-27T13:33:35.968" v="2993" actId="478"/>
          <ac:cxnSpMkLst>
            <pc:docMk/>
            <pc:sldMk cId="2091409194" sldId="266"/>
            <ac:cxnSpMk id="100" creationId="{28754F37-EE3D-4F74-9213-61B9BBD6605E}"/>
          </ac:cxnSpMkLst>
        </pc:cxnChg>
        <pc:cxnChg chg="mod">
          <ac:chgData name="Ettore Minelli" userId="7870a1ad-01cf-4239-8cce-750deae7f4ef" providerId="ADAL" clId="{0FDC7236-0C66-43F6-99AF-1100E6B9ED67}" dt="2022-10-27T13:33:35.968" v="2993" actId="478"/>
          <ac:cxnSpMkLst>
            <pc:docMk/>
            <pc:sldMk cId="2091409194" sldId="266"/>
            <ac:cxnSpMk id="101" creationId="{B8D80670-CF7D-4C52-952C-7CDE213614FD}"/>
          </ac:cxnSpMkLst>
        </pc:cxnChg>
        <pc:cxnChg chg="mod">
          <ac:chgData name="Ettore Minelli" userId="7870a1ad-01cf-4239-8cce-750deae7f4ef" providerId="ADAL" clId="{0FDC7236-0C66-43F6-99AF-1100E6B9ED67}" dt="2022-10-27T13:33:35.968" v="2993" actId="478"/>
          <ac:cxnSpMkLst>
            <pc:docMk/>
            <pc:sldMk cId="2091409194" sldId="266"/>
            <ac:cxnSpMk id="105" creationId="{86BED045-BD3B-4091-ABB2-7511BF9C9509}"/>
          </ac:cxnSpMkLst>
        </pc:cxnChg>
        <pc:cxnChg chg="mod">
          <ac:chgData name="Ettore Minelli" userId="7870a1ad-01cf-4239-8cce-750deae7f4ef" providerId="ADAL" clId="{0FDC7236-0C66-43F6-99AF-1100E6B9ED67}" dt="2022-10-27T13:33:35.968" v="2993" actId="478"/>
          <ac:cxnSpMkLst>
            <pc:docMk/>
            <pc:sldMk cId="2091409194" sldId="266"/>
            <ac:cxnSpMk id="106" creationId="{83B41827-4267-4687-948E-72613A2F4E75}"/>
          </ac:cxnSpMkLst>
        </pc:cxnChg>
        <pc:cxnChg chg="mod">
          <ac:chgData name="Ettore Minelli" userId="7870a1ad-01cf-4239-8cce-750deae7f4ef" providerId="ADAL" clId="{0FDC7236-0C66-43F6-99AF-1100E6B9ED67}" dt="2022-10-27T13:33:35.968" v="2993" actId="478"/>
          <ac:cxnSpMkLst>
            <pc:docMk/>
            <pc:sldMk cId="2091409194" sldId="266"/>
            <ac:cxnSpMk id="126" creationId="{C8E3E19B-7E3D-4C0E-A51C-0465A8D487D6}"/>
          </ac:cxnSpMkLst>
        </pc:cxnChg>
        <pc:cxnChg chg="mod">
          <ac:chgData name="Ettore Minelli" userId="7870a1ad-01cf-4239-8cce-750deae7f4ef" providerId="ADAL" clId="{0FDC7236-0C66-43F6-99AF-1100E6B9ED67}" dt="2022-10-27T13:33:35.968" v="2993" actId="478"/>
          <ac:cxnSpMkLst>
            <pc:docMk/>
            <pc:sldMk cId="2091409194" sldId="266"/>
            <ac:cxnSpMk id="127" creationId="{B71D823B-3BDC-48E8-B98D-7E1CC857EEE2}"/>
          </ac:cxnSpMkLst>
        </pc:cxnChg>
        <pc:cxnChg chg="mod">
          <ac:chgData name="Ettore Minelli" userId="7870a1ad-01cf-4239-8cce-750deae7f4ef" providerId="ADAL" clId="{0FDC7236-0C66-43F6-99AF-1100E6B9ED67}" dt="2022-10-27T13:33:35.968" v="2993" actId="478"/>
          <ac:cxnSpMkLst>
            <pc:docMk/>
            <pc:sldMk cId="2091409194" sldId="266"/>
            <ac:cxnSpMk id="131" creationId="{67986E39-E428-4C5D-ABF2-379EFEF30100}"/>
          </ac:cxnSpMkLst>
        </pc:cxnChg>
        <pc:cxnChg chg="mod">
          <ac:chgData name="Ettore Minelli" userId="7870a1ad-01cf-4239-8cce-750deae7f4ef" providerId="ADAL" clId="{0FDC7236-0C66-43F6-99AF-1100E6B9ED67}" dt="2022-10-27T13:33:35.968" v="2993" actId="478"/>
          <ac:cxnSpMkLst>
            <pc:docMk/>
            <pc:sldMk cId="2091409194" sldId="266"/>
            <ac:cxnSpMk id="132" creationId="{69763DE1-75E9-4140-BB09-23E9AB360EE5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146" creationId="{7F67E0B5-8ABB-40EE-B206-149FBD214F8F}"/>
          </ac:cxnSpMkLst>
        </pc:cxnChg>
        <pc:cxnChg chg="mod">
          <ac:chgData name="Ettore Minelli" userId="7870a1ad-01cf-4239-8cce-750deae7f4ef" providerId="ADAL" clId="{0FDC7236-0C66-43F6-99AF-1100E6B9ED67}" dt="2022-10-27T13:33:35.968" v="2993" actId="478"/>
          <ac:cxnSpMkLst>
            <pc:docMk/>
            <pc:sldMk cId="2091409194" sldId="266"/>
            <ac:cxnSpMk id="150" creationId="{6691BEC7-A53B-4111-8636-BB1A4DBA8F7B}"/>
          </ac:cxnSpMkLst>
        </pc:cxnChg>
        <pc:cxnChg chg="mod">
          <ac:chgData name="Ettore Minelli" userId="7870a1ad-01cf-4239-8cce-750deae7f4ef" providerId="ADAL" clId="{0FDC7236-0C66-43F6-99AF-1100E6B9ED67}" dt="2022-10-27T13:33:35.968" v="2993" actId="478"/>
          <ac:cxnSpMkLst>
            <pc:docMk/>
            <pc:sldMk cId="2091409194" sldId="266"/>
            <ac:cxnSpMk id="151" creationId="{F057FEE1-80B6-4AD1-8263-289765C347A1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160" creationId="{BBA89AC4-F5EC-45E4-9CE7-1E0B510B8F22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162" creationId="{3C4E2C88-5AA7-4356-ADFA-F6260DDEB3D4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170" creationId="{103B4097-A7D1-4102-A4D8-8D6BCF2A40D1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174" creationId="{040C024E-98CB-43F4-8B82-D3D5E167A10C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199" creationId="{EF02C25A-013B-4C6A-8584-18E6CC4343F0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202" creationId="{7E252C2B-BDE2-4322-9AD9-1C48E781CA52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205" creationId="{F1449CE5-BDFB-4EF1-8E31-EEADC83AEA08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212" creationId="{6CAD457A-87AF-4856-85BA-E3B9F7EF7E00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214" creationId="{A4138149-125F-4B68-BCBA-823886390800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216" creationId="{206D0605-B1D9-4A9A-AE04-F93B83065B84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218" creationId="{6251D4B8-8A03-4B0A-A609-C0B0F0DF8275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220" creationId="{B9CB758D-34D9-4F96-BDE1-6F4258A23E73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222" creationId="{5D4CA383-ED2C-4FB3-BDD2-D9AD4B573129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224" creationId="{120D7B04-4B64-462E-894D-CBF01E7F19C6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226" creationId="{3C123467-77D7-4958-A86A-8B238694E563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228" creationId="{28147D33-6B46-46BF-B6EF-64B91A889682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230" creationId="{03F3BD90-432F-4EAC-8DA7-A928A021E79F}"/>
          </ac:cxnSpMkLst>
        </pc:cxnChg>
        <pc:cxnChg chg="add mo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232" creationId="{595CA24D-696C-486F-8F55-519ECAE0C288}"/>
          </ac:cxnSpMkLst>
        </pc:cxnChg>
        <pc:cxnChg chg="add mod ord topLvl">
          <ac:chgData name="Ettore Minelli" userId="7870a1ad-01cf-4239-8cce-750deae7f4ef" providerId="ADAL" clId="{0FDC7236-0C66-43F6-99AF-1100E6B9ED67}" dt="2022-10-27T14:01:31.577" v="3694" actId="165"/>
          <ac:cxnSpMkLst>
            <pc:docMk/>
            <pc:sldMk cId="2091409194" sldId="266"/>
            <ac:cxnSpMk id="253" creationId="{608618AE-3261-4B40-A68B-3D6AA9AD29B4}"/>
          </ac:cxnSpMkLst>
        </pc:cxnChg>
        <pc:cxnChg chg="mod">
          <ac:chgData name="Ettore Minelli" userId="7870a1ad-01cf-4239-8cce-750deae7f4ef" providerId="ADAL" clId="{0FDC7236-0C66-43F6-99AF-1100E6B9ED67}" dt="2022-10-27T14:03:07.385" v="3713"/>
          <ac:cxnSpMkLst>
            <pc:docMk/>
            <pc:sldMk cId="2091409194" sldId="266"/>
            <ac:cxnSpMk id="272" creationId="{D4B3F135-D7C3-49AE-B95E-A6ED40058BB4}"/>
          </ac:cxnSpMkLst>
        </pc:cxnChg>
        <pc:cxnChg chg="mod">
          <ac:chgData name="Ettore Minelli" userId="7870a1ad-01cf-4239-8cce-750deae7f4ef" providerId="ADAL" clId="{0FDC7236-0C66-43F6-99AF-1100E6B9ED67}" dt="2022-10-27T14:03:14.338" v="3714" actId="478"/>
          <ac:cxnSpMkLst>
            <pc:docMk/>
            <pc:sldMk cId="2091409194" sldId="266"/>
            <ac:cxnSpMk id="292" creationId="{9830B93E-3396-43CA-AC67-934ED47F837D}"/>
          </ac:cxnSpMkLst>
        </pc:cxnChg>
        <pc:cxnChg chg="mod">
          <ac:chgData name="Ettore Minelli" userId="7870a1ad-01cf-4239-8cce-750deae7f4ef" providerId="ADAL" clId="{0FDC7236-0C66-43F6-99AF-1100E6B9ED67}" dt="2022-10-27T14:03:14.338" v="3714" actId="478"/>
          <ac:cxnSpMkLst>
            <pc:docMk/>
            <pc:sldMk cId="2091409194" sldId="266"/>
            <ac:cxnSpMk id="293" creationId="{5E61411D-EF9B-4D0E-9CCC-07CCBC8239DD}"/>
          </ac:cxnSpMkLst>
        </pc:cxnChg>
        <pc:cxnChg chg="mod">
          <ac:chgData name="Ettore Minelli" userId="7870a1ad-01cf-4239-8cce-750deae7f4ef" providerId="ADAL" clId="{0FDC7236-0C66-43F6-99AF-1100E6B9ED67}" dt="2022-10-27T14:03:14.338" v="3714" actId="478"/>
          <ac:cxnSpMkLst>
            <pc:docMk/>
            <pc:sldMk cId="2091409194" sldId="266"/>
            <ac:cxnSpMk id="297" creationId="{1050F014-1E3F-4200-9735-2E0009E21D82}"/>
          </ac:cxnSpMkLst>
        </pc:cxnChg>
        <pc:cxnChg chg="mod">
          <ac:chgData name="Ettore Minelli" userId="7870a1ad-01cf-4239-8cce-750deae7f4ef" providerId="ADAL" clId="{0FDC7236-0C66-43F6-99AF-1100E6B9ED67}" dt="2022-10-27T14:03:14.338" v="3714" actId="478"/>
          <ac:cxnSpMkLst>
            <pc:docMk/>
            <pc:sldMk cId="2091409194" sldId="266"/>
            <ac:cxnSpMk id="298" creationId="{E464A0D0-B41C-4708-8AA1-8BA995C3D502}"/>
          </ac:cxnSpMkLst>
        </pc:cxnChg>
        <pc:cxnChg chg="mod">
          <ac:chgData name="Ettore Minelli" userId="7870a1ad-01cf-4239-8cce-750deae7f4ef" providerId="ADAL" clId="{0FDC7236-0C66-43F6-99AF-1100E6B9ED67}" dt="2022-10-27T14:03:14.338" v="3714" actId="478"/>
          <ac:cxnSpMkLst>
            <pc:docMk/>
            <pc:sldMk cId="2091409194" sldId="266"/>
            <ac:cxnSpMk id="305" creationId="{7ADB9A58-2E2E-4405-9D71-54FC1EA5E4A2}"/>
          </ac:cxnSpMkLst>
        </pc:cxnChg>
        <pc:cxnChg chg="mod">
          <ac:chgData name="Ettore Minelli" userId="7870a1ad-01cf-4239-8cce-750deae7f4ef" providerId="ADAL" clId="{0FDC7236-0C66-43F6-99AF-1100E6B9ED67}" dt="2022-10-27T14:03:14.338" v="3714" actId="478"/>
          <ac:cxnSpMkLst>
            <pc:docMk/>
            <pc:sldMk cId="2091409194" sldId="266"/>
            <ac:cxnSpMk id="306" creationId="{E937F99C-105A-420F-9209-F32CE29E7B5C}"/>
          </ac:cxnSpMkLst>
        </pc:cxnChg>
        <pc:cxnChg chg="mod">
          <ac:chgData name="Ettore Minelli" userId="7870a1ad-01cf-4239-8cce-750deae7f4ef" providerId="ADAL" clId="{0FDC7236-0C66-43F6-99AF-1100E6B9ED67}" dt="2022-10-27T14:03:14.338" v="3714" actId="478"/>
          <ac:cxnSpMkLst>
            <pc:docMk/>
            <pc:sldMk cId="2091409194" sldId="266"/>
            <ac:cxnSpMk id="310" creationId="{FA9243FC-63E7-41BE-ADF2-312D1AD1E1A8}"/>
          </ac:cxnSpMkLst>
        </pc:cxnChg>
        <pc:cxnChg chg="mod">
          <ac:chgData name="Ettore Minelli" userId="7870a1ad-01cf-4239-8cce-750deae7f4ef" providerId="ADAL" clId="{0FDC7236-0C66-43F6-99AF-1100E6B9ED67}" dt="2022-10-27T14:03:14.338" v="3714" actId="478"/>
          <ac:cxnSpMkLst>
            <pc:docMk/>
            <pc:sldMk cId="2091409194" sldId="266"/>
            <ac:cxnSpMk id="311" creationId="{D5EA3B83-ADAA-414B-9174-83D6A48DC4F3}"/>
          </ac:cxnSpMkLst>
        </pc:cxnChg>
        <pc:cxnChg chg="mod">
          <ac:chgData name="Ettore Minelli" userId="7870a1ad-01cf-4239-8cce-750deae7f4ef" providerId="ADAL" clId="{0FDC7236-0C66-43F6-99AF-1100E6B9ED67}" dt="2022-10-27T14:03:07.385" v="3713"/>
          <ac:cxnSpMkLst>
            <pc:docMk/>
            <pc:sldMk cId="2091409194" sldId="266"/>
            <ac:cxnSpMk id="315" creationId="{C2CCF9D8-759B-45B5-83D7-C487C54D2680}"/>
          </ac:cxnSpMkLst>
        </pc:cxnChg>
        <pc:cxnChg chg="mod">
          <ac:chgData name="Ettore Minelli" userId="7870a1ad-01cf-4239-8cce-750deae7f4ef" providerId="ADAL" clId="{0FDC7236-0C66-43F6-99AF-1100E6B9ED67}" dt="2022-10-27T14:03:07.385" v="3713"/>
          <ac:cxnSpMkLst>
            <pc:docMk/>
            <pc:sldMk cId="2091409194" sldId="266"/>
            <ac:cxnSpMk id="316" creationId="{EABCCFFA-9BAC-48F4-B849-18E7C25AB332}"/>
          </ac:cxnSpMkLst>
        </pc:cxnChg>
        <pc:cxnChg chg="mod">
          <ac:chgData name="Ettore Minelli" userId="7870a1ad-01cf-4239-8cce-750deae7f4ef" providerId="ADAL" clId="{0FDC7236-0C66-43F6-99AF-1100E6B9ED67}" dt="2022-10-27T14:03:07.385" v="3713"/>
          <ac:cxnSpMkLst>
            <pc:docMk/>
            <pc:sldMk cId="2091409194" sldId="266"/>
            <ac:cxnSpMk id="317" creationId="{E0606E1B-20B8-448A-81BB-C27C10EA1D15}"/>
          </ac:cxnSpMkLst>
        </pc:cxnChg>
        <pc:cxnChg chg="mod">
          <ac:chgData name="Ettore Minelli" userId="7870a1ad-01cf-4239-8cce-750deae7f4ef" providerId="ADAL" clId="{0FDC7236-0C66-43F6-99AF-1100E6B9ED67}" dt="2022-10-27T14:03:14.338" v="3714" actId="478"/>
          <ac:cxnSpMkLst>
            <pc:docMk/>
            <pc:sldMk cId="2091409194" sldId="266"/>
            <ac:cxnSpMk id="333" creationId="{AC314D14-C848-458B-AE37-BA2F913054BB}"/>
          </ac:cxnSpMkLst>
        </pc:cxnChg>
        <pc:cxnChg chg="mod">
          <ac:chgData name="Ettore Minelli" userId="7870a1ad-01cf-4239-8cce-750deae7f4ef" providerId="ADAL" clId="{0FDC7236-0C66-43F6-99AF-1100E6B9ED67}" dt="2022-10-27T14:03:14.338" v="3714" actId="478"/>
          <ac:cxnSpMkLst>
            <pc:docMk/>
            <pc:sldMk cId="2091409194" sldId="266"/>
            <ac:cxnSpMk id="334" creationId="{7171C012-E9CE-467E-A554-D976929E09FD}"/>
          </ac:cxnSpMkLst>
        </pc:cxnChg>
        <pc:cxnChg chg="mod">
          <ac:chgData name="Ettore Minelli" userId="7870a1ad-01cf-4239-8cce-750deae7f4ef" providerId="ADAL" clId="{0FDC7236-0C66-43F6-99AF-1100E6B9ED67}" dt="2022-10-27T14:03:14.338" v="3714" actId="478"/>
          <ac:cxnSpMkLst>
            <pc:docMk/>
            <pc:sldMk cId="2091409194" sldId="266"/>
            <ac:cxnSpMk id="344" creationId="{433083EF-0EBC-4BCD-AF67-E62CE5CA94E3}"/>
          </ac:cxnSpMkLst>
        </pc:cxnChg>
        <pc:cxnChg chg="mod">
          <ac:chgData name="Ettore Minelli" userId="7870a1ad-01cf-4239-8cce-750deae7f4ef" providerId="ADAL" clId="{0FDC7236-0C66-43F6-99AF-1100E6B9ED67}" dt="2022-10-27T14:03:14.338" v="3714" actId="478"/>
          <ac:cxnSpMkLst>
            <pc:docMk/>
            <pc:sldMk cId="2091409194" sldId="266"/>
            <ac:cxnSpMk id="345" creationId="{0B1FABF1-1695-48CA-9DBC-A10C4220E101}"/>
          </ac:cxnSpMkLst>
        </pc:cxnChg>
        <pc:cxnChg chg="mod">
          <ac:chgData name="Ettore Minelli" userId="7870a1ad-01cf-4239-8cce-750deae7f4ef" providerId="ADAL" clId="{0FDC7236-0C66-43F6-99AF-1100E6B9ED67}" dt="2022-10-27T14:03:14.338" v="3714" actId="478"/>
          <ac:cxnSpMkLst>
            <pc:docMk/>
            <pc:sldMk cId="2091409194" sldId="266"/>
            <ac:cxnSpMk id="349" creationId="{87C2E5CA-C064-4CD0-9729-3FD06CED7995}"/>
          </ac:cxnSpMkLst>
        </pc:cxnChg>
        <pc:cxnChg chg="mod">
          <ac:chgData name="Ettore Minelli" userId="7870a1ad-01cf-4239-8cce-750deae7f4ef" providerId="ADAL" clId="{0FDC7236-0C66-43F6-99AF-1100E6B9ED67}" dt="2022-10-27T14:03:14.338" v="3714" actId="478"/>
          <ac:cxnSpMkLst>
            <pc:docMk/>
            <pc:sldMk cId="2091409194" sldId="266"/>
            <ac:cxnSpMk id="350" creationId="{21AD6733-76D6-48EE-A65A-4F13BE3C06BE}"/>
          </ac:cxnSpMkLst>
        </pc:cxnChg>
        <pc:cxnChg chg="mod">
          <ac:chgData name="Ettore Minelli" userId="7870a1ad-01cf-4239-8cce-750deae7f4ef" providerId="ADAL" clId="{0FDC7236-0C66-43F6-99AF-1100E6B9ED67}" dt="2022-10-27T14:03:14.338" v="3714" actId="478"/>
          <ac:cxnSpMkLst>
            <pc:docMk/>
            <pc:sldMk cId="2091409194" sldId="266"/>
            <ac:cxnSpMk id="357" creationId="{E4DC023C-4F64-4B7B-A632-13E99E492265}"/>
          </ac:cxnSpMkLst>
        </pc:cxnChg>
        <pc:cxnChg chg="mod">
          <ac:chgData name="Ettore Minelli" userId="7870a1ad-01cf-4239-8cce-750deae7f4ef" providerId="ADAL" clId="{0FDC7236-0C66-43F6-99AF-1100E6B9ED67}" dt="2022-10-27T14:03:14.338" v="3714" actId="478"/>
          <ac:cxnSpMkLst>
            <pc:docMk/>
            <pc:sldMk cId="2091409194" sldId="266"/>
            <ac:cxnSpMk id="358" creationId="{CDF8F4C3-6450-4302-B298-25E658C59340}"/>
          </ac:cxnSpMkLst>
        </pc:cxnChg>
        <pc:cxnChg chg="mod">
          <ac:chgData name="Ettore Minelli" userId="7870a1ad-01cf-4239-8cce-750deae7f4ef" providerId="ADAL" clId="{0FDC7236-0C66-43F6-99AF-1100E6B9ED67}" dt="2022-10-27T14:03:14.338" v="3714" actId="478"/>
          <ac:cxnSpMkLst>
            <pc:docMk/>
            <pc:sldMk cId="2091409194" sldId="266"/>
            <ac:cxnSpMk id="362" creationId="{BDC70ADE-D1C7-4440-AF48-78F68D983ADF}"/>
          </ac:cxnSpMkLst>
        </pc:cxnChg>
        <pc:cxnChg chg="mod">
          <ac:chgData name="Ettore Minelli" userId="7870a1ad-01cf-4239-8cce-750deae7f4ef" providerId="ADAL" clId="{0FDC7236-0C66-43F6-99AF-1100E6B9ED67}" dt="2022-10-27T14:03:14.338" v="3714" actId="478"/>
          <ac:cxnSpMkLst>
            <pc:docMk/>
            <pc:sldMk cId="2091409194" sldId="266"/>
            <ac:cxnSpMk id="363" creationId="{B584EC77-1733-4520-AEEF-7E8AA0625528}"/>
          </ac:cxnSpMkLst>
        </pc:cxnChg>
        <pc:cxnChg chg="mod">
          <ac:chgData name="Ettore Minelli" userId="7870a1ad-01cf-4239-8cce-750deae7f4ef" providerId="ADAL" clId="{0FDC7236-0C66-43F6-99AF-1100E6B9ED67}" dt="2022-10-27T14:03:14.338" v="3714" actId="478"/>
          <ac:cxnSpMkLst>
            <pc:docMk/>
            <pc:sldMk cId="2091409194" sldId="266"/>
            <ac:cxnSpMk id="367" creationId="{B0B226AA-106F-4381-BA46-D1BD89104C2C}"/>
          </ac:cxnSpMkLst>
        </pc:cxnChg>
        <pc:cxnChg chg="mod">
          <ac:chgData name="Ettore Minelli" userId="7870a1ad-01cf-4239-8cce-750deae7f4ef" providerId="ADAL" clId="{0FDC7236-0C66-43F6-99AF-1100E6B9ED67}" dt="2022-10-27T14:03:14.338" v="3714" actId="478"/>
          <ac:cxnSpMkLst>
            <pc:docMk/>
            <pc:sldMk cId="2091409194" sldId="266"/>
            <ac:cxnSpMk id="368" creationId="{59B7C8D7-BE7C-4911-A329-AE265D034D96}"/>
          </ac:cxnSpMkLst>
        </pc:cxnChg>
      </pc:sldChg>
      <pc:sldChg chg="addSp delSp modSp new mod">
        <pc:chgData name="Ettore Minelli" userId="7870a1ad-01cf-4239-8cce-750deae7f4ef" providerId="ADAL" clId="{0FDC7236-0C66-43F6-99AF-1100E6B9ED67}" dt="2022-10-27T15:44:08.995" v="4692" actId="165"/>
        <pc:sldMkLst>
          <pc:docMk/>
          <pc:sldMk cId="58855581" sldId="267"/>
        </pc:sldMkLst>
        <pc:spChg chg="add mod topLvl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2" creationId="{A8A3E4D2-EAB5-445B-9848-5BEF20E53434}"/>
          </ac:spMkLst>
        </pc:spChg>
        <pc:spChg chg="add mod topLvl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3" creationId="{721579FA-6C4D-4E47-8FFA-C63A6CDA0EEC}"/>
          </ac:spMkLst>
        </pc:spChg>
        <pc:spChg chg="add mod topLvl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4" creationId="{2FA343DB-6838-4CA3-8ABF-BB336D0B02DD}"/>
          </ac:spMkLst>
        </pc:spChg>
        <pc:spChg chg="add mod ord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5" creationId="{51ED33DA-ECB9-48FC-B0E9-37EC121CBBA6}"/>
          </ac:spMkLst>
        </pc:spChg>
        <pc:spChg chg="add mod ord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14" creationId="{9F4CEF87-7597-4822-8D87-A686D9832785}"/>
          </ac:spMkLst>
        </pc:spChg>
        <pc:spChg chg="mod topLvl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17" creationId="{BCED326A-18DF-4E2F-A4B5-1A8D8EF5FD35}"/>
          </ac:spMkLst>
        </pc:spChg>
        <pc:spChg chg="mod topLvl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22" creationId="{0A3B3CA5-578F-4914-B0A5-C51302843F3C}"/>
          </ac:spMkLst>
        </pc:spChg>
        <pc:spChg chg="mod topLvl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36" creationId="{94A9FECE-15AE-4D79-947B-B8ECBA5AF8DD}"/>
          </ac:spMkLst>
        </pc:spChg>
        <pc:spChg chg="mod topLvl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41" creationId="{2BAA77E2-40C7-4790-9F25-A5424762787C}"/>
          </ac:spMkLst>
        </pc:spChg>
        <pc:spChg chg="mod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43" creationId="{9911ADBE-F5B5-47BE-859E-449B1E48C247}"/>
          </ac:spMkLst>
        </pc:spChg>
        <pc:spChg chg="mod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48" creationId="{5727A337-A8D4-4E73-A461-D4BB9EF948E5}"/>
          </ac:spMkLst>
        </pc:spChg>
        <pc:spChg chg="mod">
          <ac:chgData name="Ettore Minelli" userId="7870a1ad-01cf-4239-8cce-750deae7f4ef" providerId="ADAL" clId="{0FDC7236-0C66-43F6-99AF-1100E6B9ED67}" dt="2022-10-27T14:38:51.713" v="4175"/>
          <ac:spMkLst>
            <pc:docMk/>
            <pc:sldMk cId="58855581" sldId="267"/>
            <ac:spMk id="50" creationId="{E30A141E-815E-4027-8A14-8E7B69974A20}"/>
          </ac:spMkLst>
        </pc:spChg>
        <pc:spChg chg="mod">
          <ac:chgData name="Ettore Minelli" userId="7870a1ad-01cf-4239-8cce-750deae7f4ef" providerId="ADAL" clId="{0FDC7236-0C66-43F6-99AF-1100E6B9ED67}" dt="2022-10-27T14:38:51.713" v="4175"/>
          <ac:spMkLst>
            <pc:docMk/>
            <pc:sldMk cId="58855581" sldId="267"/>
            <ac:spMk id="55" creationId="{20EBF93C-72A1-45D7-960D-23343FB9F0DE}"/>
          </ac:spMkLst>
        </pc:spChg>
        <pc:spChg chg="add mod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56" creationId="{F2CD42A6-2616-4E9F-88D6-5E68AF8DB8B9}"/>
          </ac:spMkLst>
        </pc:spChg>
        <pc:spChg chg="add mod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57" creationId="{2B18B21E-AA1A-4293-A5E9-B2D5324BFDAE}"/>
          </ac:spMkLst>
        </pc:spChg>
        <pc:spChg chg="add mod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58" creationId="{98820BDE-D756-44A7-9E87-1184E6E03346}"/>
          </ac:spMkLst>
        </pc:spChg>
        <pc:spChg chg="add mod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59" creationId="{F255FEC2-7C5C-41F8-BD7B-4FFB0F30887F}"/>
          </ac:spMkLst>
        </pc:spChg>
        <pc:spChg chg="add mod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60" creationId="{C90FF3F8-EE4A-404F-96C2-AE999710926F}"/>
          </ac:spMkLst>
        </pc:spChg>
        <pc:spChg chg="add mod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61" creationId="{7AD4A7BF-6CFE-4B16-9B4C-7E1F744318CB}"/>
          </ac:spMkLst>
        </pc:spChg>
        <pc:spChg chg="mod">
          <ac:chgData name="Ettore Minelli" userId="7870a1ad-01cf-4239-8cce-750deae7f4ef" providerId="ADAL" clId="{0FDC7236-0C66-43F6-99AF-1100E6B9ED67}" dt="2022-10-27T14:42:38.391" v="4238"/>
          <ac:spMkLst>
            <pc:docMk/>
            <pc:sldMk cId="58855581" sldId="267"/>
            <ac:spMk id="99" creationId="{9187ECAB-D64E-4D58-A8FF-1323A0DC4311}"/>
          </ac:spMkLst>
        </pc:spChg>
        <pc:spChg chg="mod">
          <ac:chgData name="Ettore Minelli" userId="7870a1ad-01cf-4239-8cce-750deae7f4ef" providerId="ADAL" clId="{0FDC7236-0C66-43F6-99AF-1100E6B9ED67}" dt="2022-10-27T14:42:38.391" v="4238"/>
          <ac:spMkLst>
            <pc:docMk/>
            <pc:sldMk cId="58855581" sldId="267"/>
            <ac:spMk id="100" creationId="{21A25CDA-D364-402D-BBDF-C5B3673DAA25}"/>
          </ac:spMkLst>
        </pc:spChg>
        <pc:spChg chg="mod">
          <ac:chgData name="Ettore Minelli" userId="7870a1ad-01cf-4239-8cce-750deae7f4ef" providerId="ADAL" clId="{0FDC7236-0C66-43F6-99AF-1100E6B9ED67}" dt="2022-10-27T14:42:38.391" v="4238"/>
          <ac:spMkLst>
            <pc:docMk/>
            <pc:sldMk cId="58855581" sldId="267"/>
            <ac:spMk id="101" creationId="{D7D8E87E-6301-4F1B-861B-D51A554C63AB}"/>
          </ac:spMkLst>
        </pc:spChg>
        <pc:spChg chg="mod">
          <ac:chgData name="Ettore Minelli" userId="7870a1ad-01cf-4239-8cce-750deae7f4ef" providerId="ADAL" clId="{0FDC7236-0C66-43F6-99AF-1100E6B9ED67}" dt="2022-10-27T14:42:38.391" v="4238"/>
          <ac:spMkLst>
            <pc:docMk/>
            <pc:sldMk cId="58855581" sldId="267"/>
            <ac:spMk id="102" creationId="{D8A6D194-AA32-42C4-85DB-717861557C89}"/>
          </ac:spMkLst>
        </pc:spChg>
        <pc:spChg chg="mod">
          <ac:chgData name="Ettore Minelli" userId="7870a1ad-01cf-4239-8cce-750deae7f4ef" providerId="ADAL" clId="{0FDC7236-0C66-43F6-99AF-1100E6B9ED67}" dt="2022-10-27T14:42:38.391" v="4238"/>
          <ac:spMkLst>
            <pc:docMk/>
            <pc:sldMk cId="58855581" sldId="267"/>
            <ac:spMk id="103" creationId="{6B629AAC-8BFF-4540-932A-A59DAEDE5C32}"/>
          </ac:spMkLst>
        </pc:spChg>
        <pc:spChg chg="mod">
          <ac:chgData name="Ettore Minelli" userId="7870a1ad-01cf-4239-8cce-750deae7f4ef" providerId="ADAL" clId="{0FDC7236-0C66-43F6-99AF-1100E6B9ED67}" dt="2022-10-27T14:42:38.391" v="4238"/>
          <ac:spMkLst>
            <pc:docMk/>
            <pc:sldMk cId="58855581" sldId="267"/>
            <ac:spMk id="104" creationId="{F0959736-D7CB-4520-B5A4-5641C8FD90D7}"/>
          </ac:spMkLst>
        </pc:spChg>
        <pc:spChg chg="mod">
          <ac:chgData name="Ettore Minelli" userId="7870a1ad-01cf-4239-8cce-750deae7f4ef" providerId="ADAL" clId="{0FDC7236-0C66-43F6-99AF-1100E6B9ED67}" dt="2022-10-27T14:42:38.391" v="4238"/>
          <ac:spMkLst>
            <pc:docMk/>
            <pc:sldMk cId="58855581" sldId="267"/>
            <ac:spMk id="115" creationId="{1D5F7808-5BE3-431A-BF6E-105C8C5290EA}"/>
          </ac:spMkLst>
        </pc:spChg>
        <pc:spChg chg="mod">
          <ac:chgData name="Ettore Minelli" userId="7870a1ad-01cf-4239-8cce-750deae7f4ef" providerId="ADAL" clId="{0FDC7236-0C66-43F6-99AF-1100E6B9ED67}" dt="2022-10-27T14:42:38.391" v="4238"/>
          <ac:spMkLst>
            <pc:docMk/>
            <pc:sldMk cId="58855581" sldId="267"/>
            <ac:spMk id="116" creationId="{BFCE76E2-24C1-48F5-8A0D-DC354C6AF874}"/>
          </ac:spMkLst>
        </pc:spChg>
        <pc:spChg chg="mod">
          <ac:chgData name="Ettore Minelli" userId="7870a1ad-01cf-4239-8cce-750deae7f4ef" providerId="ADAL" clId="{0FDC7236-0C66-43F6-99AF-1100E6B9ED67}" dt="2022-10-27T14:44:30.138" v="4290" actId="165"/>
          <ac:spMkLst>
            <pc:docMk/>
            <pc:sldMk cId="58855581" sldId="267"/>
            <ac:spMk id="120" creationId="{F3260D44-68E8-41D9-A6B1-74859AE3A328}"/>
          </ac:spMkLst>
        </pc:spChg>
        <pc:spChg chg="mod">
          <ac:chgData name="Ettore Minelli" userId="7870a1ad-01cf-4239-8cce-750deae7f4ef" providerId="ADAL" clId="{0FDC7236-0C66-43F6-99AF-1100E6B9ED67}" dt="2022-10-27T14:44:30.138" v="4290" actId="165"/>
          <ac:spMkLst>
            <pc:docMk/>
            <pc:sldMk cId="58855581" sldId="267"/>
            <ac:spMk id="121" creationId="{971BDD33-FF48-4A0E-966B-C43E186205C9}"/>
          </ac:spMkLst>
        </pc:spChg>
        <pc:spChg chg="mod">
          <ac:chgData name="Ettore Minelli" userId="7870a1ad-01cf-4239-8cce-750deae7f4ef" providerId="ADAL" clId="{0FDC7236-0C66-43F6-99AF-1100E6B9ED67}" dt="2022-10-27T14:44:30.138" v="4290" actId="165"/>
          <ac:spMkLst>
            <pc:docMk/>
            <pc:sldMk cId="58855581" sldId="267"/>
            <ac:spMk id="122" creationId="{416DE431-75AB-4EF8-8093-98B1DF5EAFEE}"/>
          </ac:spMkLst>
        </pc:spChg>
        <pc:spChg chg="mod">
          <ac:chgData name="Ettore Minelli" userId="7870a1ad-01cf-4239-8cce-750deae7f4ef" providerId="ADAL" clId="{0FDC7236-0C66-43F6-99AF-1100E6B9ED67}" dt="2022-10-27T14:44:30.138" v="4290" actId="165"/>
          <ac:spMkLst>
            <pc:docMk/>
            <pc:sldMk cId="58855581" sldId="267"/>
            <ac:spMk id="123" creationId="{E9399CF4-CC91-4F59-A937-7ED3E87FA87D}"/>
          </ac:spMkLst>
        </pc:spChg>
        <pc:spChg chg="mod">
          <ac:chgData name="Ettore Minelli" userId="7870a1ad-01cf-4239-8cce-750deae7f4ef" providerId="ADAL" clId="{0FDC7236-0C66-43F6-99AF-1100E6B9ED67}" dt="2022-10-27T14:44:30.138" v="4290" actId="165"/>
          <ac:spMkLst>
            <pc:docMk/>
            <pc:sldMk cId="58855581" sldId="267"/>
            <ac:spMk id="124" creationId="{2CB67905-502F-4732-A576-F5758BE0309D}"/>
          </ac:spMkLst>
        </pc:spChg>
        <pc:spChg chg="mod">
          <ac:chgData name="Ettore Minelli" userId="7870a1ad-01cf-4239-8cce-750deae7f4ef" providerId="ADAL" clId="{0FDC7236-0C66-43F6-99AF-1100E6B9ED67}" dt="2022-10-27T14:44:30.138" v="4290" actId="165"/>
          <ac:spMkLst>
            <pc:docMk/>
            <pc:sldMk cId="58855581" sldId="267"/>
            <ac:spMk id="125" creationId="{236B7692-9BAD-4E31-8B4D-4AF6453F716A}"/>
          </ac:spMkLst>
        </pc:spChg>
        <pc:spChg chg="mod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136" creationId="{C9686CCE-4C6A-4DC2-9CC5-D80521523F91}"/>
          </ac:spMkLst>
        </pc:spChg>
        <pc:spChg chg="mod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137" creationId="{EB9E633D-7982-4257-AA85-FBB03D4BB8FB}"/>
          </ac:spMkLst>
        </pc:spChg>
        <pc:spChg chg="mod">
          <ac:chgData name="Ettore Minelli" userId="7870a1ad-01cf-4239-8cce-750deae7f4ef" providerId="ADAL" clId="{0FDC7236-0C66-43F6-99AF-1100E6B9ED67}" dt="2022-10-27T14:53:37.153" v="4341" actId="165"/>
          <ac:spMkLst>
            <pc:docMk/>
            <pc:sldMk cId="58855581" sldId="267"/>
            <ac:spMk id="141" creationId="{C1BF953C-BE5E-44B9-87BD-F15203A7F26F}"/>
          </ac:spMkLst>
        </pc:spChg>
        <pc:spChg chg="mod">
          <ac:chgData name="Ettore Minelli" userId="7870a1ad-01cf-4239-8cce-750deae7f4ef" providerId="ADAL" clId="{0FDC7236-0C66-43F6-99AF-1100E6B9ED67}" dt="2022-10-27T14:53:37.153" v="4341" actId="165"/>
          <ac:spMkLst>
            <pc:docMk/>
            <pc:sldMk cId="58855581" sldId="267"/>
            <ac:spMk id="142" creationId="{FC568134-BBB5-46D2-9191-8C13AF90D7EB}"/>
          </ac:spMkLst>
        </pc:spChg>
        <pc:spChg chg="mod">
          <ac:chgData name="Ettore Minelli" userId="7870a1ad-01cf-4239-8cce-750deae7f4ef" providerId="ADAL" clId="{0FDC7236-0C66-43F6-99AF-1100E6B9ED67}" dt="2022-10-27T14:53:37.153" v="4341" actId="165"/>
          <ac:spMkLst>
            <pc:docMk/>
            <pc:sldMk cId="58855581" sldId="267"/>
            <ac:spMk id="143" creationId="{A1F07CFA-C4B8-4A5A-B179-FBA17CAA6279}"/>
          </ac:spMkLst>
        </pc:spChg>
        <pc:spChg chg="mod">
          <ac:chgData name="Ettore Minelli" userId="7870a1ad-01cf-4239-8cce-750deae7f4ef" providerId="ADAL" clId="{0FDC7236-0C66-43F6-99AF-1100E6B9ED67}" dt="2022-10-27T14:53:37.153" v="4341" actId="165"/>
          <ac:spMkLst>
            <pc:docMk/>
            <pc:sldMk cId="58855581" sldId="267"/>
            <ac:spMk id="144" creationId="{0EE20532-B163-446A-AB60-25169A4FDCAB}"/>
          </ac:spMkLst>
        </pc:spChg>
        <pc:spChg chg="mod">
          <ac:chgData name="Ettore Minelli" userId="7870a1ad-01cf-4239-8cce-750deae7f4ef" providerId="ADAL" clId="{0FDC7236-0C66-43F6-99AF-1100E6B9ED67}" dt="2022-10-27T14:53:37.153" v="4341" actId="165"/>
          <ac:spMkLst>
            <pc:docMk/>
            <pc:sldMk cId="58855581" sldId="267"/>
            <ac:spMk id="145" creationId="{4242D895-E293-484A-8008-EC123238CBF8}"/>
          </ac:spMkLst>
        </pc:spChg>
        <pc:spChg chg="mod">
          <ac:chgData name="Ettore Minelli" userId="7870a1ad-01cf-4239-8cce-750deae7f4ef" providerId="ADAL" clId="{0FDC7236-0C66-43F6-99AF-1100E6B9ED67}" dt="2022-10-27T14:53:37.153" v="4341" actId="165"/>
          <ac:spMkLst>
            <pc:docMk/>
            <pc:sldMk cId="58855581" sldId="267"/>
            <ac:spMk id="146" creationId="{91744E7A-566B-4062-B7AD-5A878478CFA7}"/>
          </ac:spMkLst>
        </pc:spChg>
        <pc:spChg chg="mod ord topLvl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157" creationId="{B8FFA003-68E7-4BB7-8963-78F997AA8B73}"/>
          </ac:spMkLst>
        </pc:spChg>
        <pc:spChg chg="mod topLvl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158" creationId="{53C95E18-0CF2-4F11-AA3B-83F0965DC346}"/>
          </ac:spMkLst>
        </pc:spChg>
        <pc:spChg chg="mod">
          <ac:chgData name="Ettore Minelli" userId="7870a1ad-01cf-4239-8cce-750deae7f4ef" providerId="ADAL" clId="{0FDC7236-0C66-43F6-99AF-1100E6B9ED67}" dt="2022-10-27T14:54:21.920" v="4351" actId="165"/>
          <ac:spMkLst>
            <pc:docMk/>
            <pc:sldMk cId="58855581" sldId="267"/>
            <ac:spMk id="162" creationId="{7AA35464-96C6-4F24-8871-F5C65F2810F9}"/>
          </ac:spMkLst>
        </pc:spChg>
        <pc:spChg chg="mod">
          <ac:chgData name="Ettore Minelli" userId="7870a1ad-01cf-4239-8cce-750deae7f4ef" providerId="ADAL" clId="{0FDC7236-0C66-43F6-99AF-1100E6B9ED67}" dt="2022-10-27T14:54:21.920" v="4351" actId="165"/>
          <ac:spMkLst>
            <pc:docMk/>
            <pc:sldMk cId="58855581" sldId="267"/>
            <ac:spMk id="163" creationId="{38E5764B-6B6F-4A5B-A766-974C890B445F}"/>
          </ac:spMkLst>
        </pc:spChg>
        <pc:spChg chg="mod">
          <ac:chgData name="Ettore Minelli" userId="7870a1ad-01cf-4239-8cce-750deae7f4ef" providerId="ADAL" clId="{0FDC7236-0C66-43F6-99AF-1100E6B9ED67}" dt="2022-10-27T14:54:21.920" v="4351" actId="165"/>
          <ac:spMkLst>
            <pc:docMk/>
            <pc:sldMk cId="58855581" sldId="267"/>
            <ac:spMk id="164" creationId="{3A048FF4-3DF9-497E-BAEB-6D8E90C928D5}"/>
          </ac:spMkLst>
        </pc:spChg>
        <pc:spChg chg="mod">
          <ac:chgData name="Ettore Minelli" userId="7870a1ad-01cf-4239-8cce-750deae7f4ef" providerId="ADAL" clId="{0FDC7236-0C66-43F6-99AF-1100E6B9ED67}" dt="2022-10-27T14:54:21.920" v="4351" actId="165"/>
          <ac:spMkLst>
            <pc:docMk/>
            <pc:sldMk cId="58855581" sldId="267"/>
            <ac:spMk id="165" creationId="{E24152C6-ED76-45B7-9E88-F31296AC5DF4}"/>
          </ac:spMkLst>
        </pc:spChg>
        <pc:spChg chg="mod">
          <ac:chgData name="Ettore Minelli" userId="7870a1ad-01cf-4239-8cce-750deae7f4ef" providerId="ADAL" clId="{0FDC7236-0C66-43F6-99AF-1100E6B9ED67}" dt="2022-10-27T14:54:21.920" v="4351" actId="165"/>
          <ac:spMkLst>
            <pc:docMk/>
            <pc:sldMk cId="58855581" sldId="267"/>
            <ac:spMk id="166" creationId="{A42EFC0C-D9C3-4D06-9B60-71919AF2EE7C}"/>
          </ac:spMkLst>
        </pc:spChg>
        <pc:spChg chg="mod">
          <ac:chgData name="Ettore Minelli" userId="7870a1ad-01cf-4239-8cce-750deae7f4ef" providerId="ADAL" clId="{0FDC7236-0C66-43F6-99AF-1100E6B9ED67}" dt="2022-10-27T14:54:21.920" v="4351" actId="165"/>
          <ac:spMkLst>
            <pc:docMk/>
            <pc:sldMk cId="58855581" sldId="267"/>
            <ac:spMk id="167" creationId="{D00A1A6E-F228-4990-B6EB-22A4468ED313}"/>
          </ac:spMkLst>
        </pc:spChg>
        <pc:spChg chg="mod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178" creationId="{EB41A286-3843-406F-8CE2-0A136F5F5629}"/>
          </ac:spMkLst>
        </pc:spChg>
        <pc:spChg chg="mod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179" creationId="{67CCBE0E-E942-48B2-A91D-3DB4602283B7}"/>
          </ac:spMkLst>
        </pc:spChg>
        <pc:spChg chg="add mod topLvl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196" creationId="{6D12AAA6-9830-4D89-AA0C-F5E057EEED6B}"/>
          </ac:spMkLst>
        </pc:spChg>
        <pc:spChg chg="add mod topLvl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205" creationId="{D3DEF146-7A0B-49E3-907F-B6AC356D9692}"/>
          </ac:spMkLst>
        </pc:spChg>
        <pc:spChg chg="add mod topLvl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206" creationId="{687E66F5-7AC9-4B5E-8A24-3D6282B95E24}"/>
          </ac:spMkLst>
        </pc:spChg>
        <pc:spChg chg="add del mod">
          <ac:chgData name="Ettore Minelli" userId="7870a1ad-01cf-4239-8cce-750deae7f4ef" providerId="ADAL" clId="{0FDC7236-0C66-43F6-99AF-1100E6B9ED67}" dt="2022-10-27T15:01:49.883" v="4463"/>
          <ac:spMkLst>
            <pc:docMk/>
            <pc:sldMk cId="58855581" sldId="267"/>
            <ac:spMk id="207" creationId="{8D2C8E6C-F6DB-4CDA-9B1B-0624D294549C}"/>
          </ac:spMkLst>
        </pc:spChg>
        <pc:spChg chg="add mod topLvl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208" creationId="{2EA11011-9357-4EB7-AF43-B03FF14C9AFB}"/>
          </ac:spMkLst>
        </pc:spChg>
        <pc:spChg chg="add mod topLvl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209" creationId="{1997C172-10C2-4404-ACCE-4CF077EC18DC}"/>
          </ac:spMkLst>
        </pc:spChg>
        <pc:spChg chg="add mod topLvl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210" creationId="{37F1C550-E103-4EB1-A2E7-B68E6D13C8E4}"/>
          </ac:spMkLst>
        </pc:spChg>
        <pc:spChg chg="add del mod">
          <ac:chgData name="Ettore Minelli" userId="7870a1ad-01cf-4239-8cce-750deae7f4ef" providerId="ADAL" clId="{0FDC7236-0C66-43F6-99AF-1100E6B9ED67}" dt="2022-10-27T15:09:24.261" v="4565" actId="11529"/>
          <ac:spMkLst>
            <pc:docMk/>
            <pc:sldMk cId="58855581" sldId="267"/>
            <ac:spMk id="216" creationId="{877E10F5-89B8-46D8-9C04-D5CF621D0BA8}"/>
          </ac:spMkLst>
        </pc:spChg>
        <pc:spChg chg="add mod topLvl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219" creationId="{3617C0FE-ECEC-44D7-8BAC-2687B44929CC}"/>
          </ac:spMkLst>
        </pc:spChg>
        <pc:spChg chg="add mod topLvl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220" creationId="{571452A4-0B56-4A9B-991D-FC0C04937822}"/>
          </ac:spMkLst>
        </pc:spChg>
        <pc:spChg chg="add mod topLvl">
          <ac:chgData name="Ettore Minelli" userId="7870a1ad-01cf-4239-8cce-750deae7f4ef" providerId="ADAL" clId="{0FDC7236-0C66-43F6-99AF-1100E6B9ED67}" dt="2022-10-27T15:44:08.995" v="4692" actId="165"/>
          <ac:spMkLst>
            <pc:docMk/>
            <pc:sldMk cId="58855581" sldId="267"/>
            <ac:spMk id="225" creationId="{20C6275D-0233-493C-AFDE-AC99D8F6DF3B}"/>
          </ac:spMkLst>
        </pc:spChg>
        <pc:grpChg chg="add mod topLvl">
          <ac:chgData name="Ettore Minelli" userId="7870a1ad-01cf-4239-8cce-750deae7f4ef" providerId="ADAL" clId="{0FDC7236-0C66-43F6-99AF-1100E6B9ED67}" dt="2022-10-27T15:44:08.995" v="4692" actId="165"/>
          <ac:grpSpMkLst>
            <pc:docMk/>
            <pc:sldMk cId="58855581" sldId="267"/>
            <ac:grpSpMk id="15" creationId="{ABB7D65E-0C37-459A-B4AE-15B93537E9E5}"/>
          </ac:grpSpMkLst>
        </pc:grpChg>
        <pc:grpChg chg="add del mod">
          <ac:chgData name="Ettore Minelli" userId="7870a1ad-01cf-4239-8cce-750deae7f4ef" providerId="ADAL" clId="{0FDC7236-0C66-43F6-99AF-1100E6B9ED67}" dt="2022-10-27T14:28:05.176" v="4071" actId="165"/>
          <ac:grpSpMkLst>
            <pc:docMk/>
            <pc:sldMk cId="58855581" sldId="267"/>
            <ac:grpSpMk id="16" creationId="{497D29A2-15B5-4416-B85F-DC95F0C3A42E}"/>
          </ac:grpSpMkLst>
        </pc:grpChg>
        <pc:grpChg chg="add mod">
          <ac:chgData name="Ettore Minelli" userId="7870a1ad-01cf-4239-8cce-750deae7f4ef" providerId="ADAL" clId="{0FDC7236-0C66-43F6-99AF-1100E6B9ED67}" dt="2022-10-27T15:44:08.995" v="4692" actId="165"/>
          <ac:grpSpMkLst>
            <pc:docMk/>
            <pc:sldMk cId="58855581" sldId="267"/>
            <ac:grpSpMk id="27" creationId="{CE5167BE-3BE1-4BF8-910C-86A237DA91ED}"/>
          </ac:grpSpMkLst>
        </pc:grpChg>
        <pc:grpChg chg="add mod">
          <ac:chgData name="Ettore Minelli" userId="7870a1ad-01cf-4239-8cce-750deae7f4ef" providerId="ADAL" clId="{0FDC7236-0C66-43F6-99AF-1100E6B9ED67}" dt="2022-10-27T15:44:08.995" v="4692" actId="165"/>
          <ac:grpSpMkLst>
            <pc:docMk/>
            <pc:sldMk cId="58855581" sldId="267"/>
            <ac:grpSpMk id="28" creationId="{DECA95CA-0B67-4697-A50B-A40388A3C5F7}"/>
          </ac:grpSpMkLst>
        </pc:grpChg>
        <pc:grpChg chg="add mod">
          <ac:chgData name="Ettore Minelli" userId="7870a1ad-01cf-4239-8cce-750deae7f4ef" providerId="ADAL" clId="{0FDC7236-0C66-43F6-99AF-1100E6B9ED67}" dt="2022-10-27T15:44:08.995" v="4692" actId="165"/>
          <ac:grpSpMkLst>
            <pc:docMk/>
            <pc:sldMk cId="58855581" sldId="267"/>
            <ac:grpSpMk id="32" creationId="{BB506F84-DC0D-49BE-859B-885BDAB4F620}"/>
          </ac:grpSpMkLst>
        </pc:grpChg>
        <pc:grpChg chg="add mod">
          <ac:chgData name="Ettore Minelli" userId="7870a1ad-01cf-4239-8cce-750deae7f4ef" providerId="ADAL" clId="{0FDC7236-0C66-43F6-99AF-1100E6B9ED67}" dt="2022-10-27T15:44:08.995" v="4692" actId="165"/>
          <ac:grpSpMkLst>
            <pc:docMk/>
            <pc:sldMk cId="58855581" sldId="267"/>
            <ac:grpSpMk id="33" creationId="{9EFBD381-9EF3-4F9F-8760-C54237443093}"/>
          </ac:grpSpMkLst>
        </pc:grpChg>
        <pc:grpChg chg="add mod topLvl">
          <ac:chgData name="Ettore Minelli" userId="7870a1ad-01cf-4239-8cce-750deae7f4ef" providerId="ADAL" clId="{0FDC7236-0C66-43F6-99AF-1100E6B9ED67}" dt="2022-10-27T15:44:08.995" v="4692" actId="165"/>
          <ac:grpSpMkLst>
            <pc:docMk/>
            <pc:sldMk cId="58855581" sldId="267"/>
            <ac:grpSpMk id="34" creationId="{20C5C491-CB51-45CC-9574-ECD9966BD6AA}"/>
          </ac:grpSpMkLst>
        </pc:grpChg>
        <pc:grpChg chg="add del mod">
          <ac:chgData name="Ettore Minelli" userId="7870a1ad-01cf-4239-8cce-750deae7f4ef" providerId="ADAL" clId="{0FDC7236-0C66-43F6-99AF-1100E6B9ED67}" dt="2022-10-27T14:34:51.502" v="4137" actId="165"/>
          <ac:grpSpMkLst>
            <pc:docMk/>
            <pc:sldMk cId="58855581" sldId="267"/>
            <ac:grpSpMk id="35" creationId="{D3628520-1281-44C8-9B6C-43DE34BA5D03}"/>
          </ac:grpSpMkLst>
        </pc:grpChg>
        <pc:grpChg chg="add del mod">
          <ac:chgData name="Ettore Minelli" userId="7870a1ad-01cf-4239-8cce-750deae7f4ef" providerId="ADAL" clId="{0FDC7236-0C66-43F6-99AF-1100E6B9ED67}" dt="2022-10-27T15:44:08.995" v="4692" actId="165"/>
          <ac:grpSpMkLst>
            <pc:docMk/>
            <pc:sldMk cId="58855581" sldId="267"/>
            <ac:grpSpMk id="42" creationId="{B3163C7C-5DED-4CCB-A3E7-CE81E6EEFFF8}"/>
          </ac:grpSpMkLst>
        </pc:grpChg>
        <pc:grpChg chg="add del mod">
          <ac:chgData name="Ettore Minelli" userId="7870a1ad-01cf-4239-8cce-750deae7f4ef" providerId="ADAL" clId="{0FDC7236-0C66-43F6-99AF-1100E6B9ED67}" dt="2022-10-27T14:38:53.138" v="4176"/>
          <ac:grpSpMkLst>
            <pc:docMk/>
            <pc:sldMk cId="58855581" sldId="267"/>
            <ac:grpSpMk id="49" creationId="{35D4E681-1C6A-4EC6-9DC9-C54C7A13C807}"/>
          </ac:grpSpMkLst>
        </pc:grpChg>
        <pc:grpChg chg="add mod">
          <ac:chgData name="Ettore Minelli" userId="7870a1ad-01cf-4239-8cce-750deae7f4ef" providerId="ADAL" clId="{0FDC7236-0C66-43F6-99AF-1100E6B9ED67}" dt="2022-10-27T15:44:08.995" v="4692" actId="165"/>
          <ac:grpSpMkLst>
            <pc:docMk/>
            <pc:sldMk cId="58855581" sldId="267"/>
            <ac:grpSpMk id="93" creationId="{67118D7A-4724-4BE0-9B74-9EB454921432}"/>
          </ac:grpSpMkLst>
        </pc:grpChg>
        <pc:grpChg chg="add del mod topLvl">
          <ac:chgData name="Ettore Minelli" userId="7870a1ad-01cf-4239-8cce-750deae7f4ef" providerId="ADAL" clId="{0FDC7236-0C66-43F6-99AF-1100E6B9ED67}" dt="2022-10-27T15:44:08.995" v="4692" actId="165"/>
          <ac:grpSpMkLst>
            <pc:docMk/>
            <pc:sldMk cId="58855581" sldId="267"/>
            <ac:grpSpMk id="95" creationId="{03CF6DB1-C114-489E-AB32-DD70D0FBE6C3}"/>
          </ac:grpSpMkLst>
        </pc:grpChg>
        <pc:grpChg chg="add del mod">
          <ac:chgData name="Ettore Minelli" userId="7870a1ad-01cf-4239-8cce-750deae7f4ef" providerId="ADAL" clId="{0FDC7236-0C66-43F6-99AF-1100E6B9ED67}" dt="2022-10-27T14:42:44.323" v="4240" actId="21"/>
          <ac:grpSpMkLst>
            <pc:docMk/>
            <pc:sldMk cId="58855581" sldId="267"/>
            <ac:grpSpMk id="96" creationId="{1D9911C4-1422-4AA0-8D2D-726CE537C9F5}"/>
          </ac:grpSpMkLst>
        </pc:grpChg>
        <pc:grpChg chg="mod">
          <ac:chgData name="Ettore Minelli" userId="7870a1ad-01cf-4239-8cce-750deae7f4ef" providerId="ADAL" clId="{0FDC7236-0C66-43F6-99AF-1100E6B9ED67}" dt="2022-10-27T14:42:38.391" v="4238"/>
          <ac:grpSpMkLst>
            <pc:docMk/>
            <pc:sldMk cId="58855581" sldId="267"/>
            <ac:grpSpMk id="97" creationId="{1D98F91D-4501-4088-B020-06F257599699}"/>
          </ac:grpSpMkLst>
        </pc:grpChg>
        <pc:grpChg chg="mod">
          <ac:chgData name="Ettore Minelli" userId="7870a1ad-01cf-4239-8cce-750deae7f4ef" providerId="ADAL" clId="{0FDC7236-0C66-43F6-99AF-1100E6B9ED67}" dt="2022-10-27T14:42:38.391" v="4238"/>
          <ac:grpSpMkLst>
            <pc:docMk/>
            <pc:sldMk cId="58855581" sldId="267"/>
            <ac:grpSpMk id="98" creationId="{EB2960E7-6A30-4F64-8529-7D24541372D5}"/>
          </ac:grpSpMkLst>
        </pc:grpChg>
        <pc:grpChg chg="add del mod">
          <ac:chgData name="Ettore Minelli" userId="7870a1ad-01cf-4239-8cce-750deae7f4ef" providerId="ADAL" clId="{0FDC7236-0C66-43F6-99AF-1100E6B9ED67}" dt="2022-10-27T14:44:30.138" v="4290" actId="165"/>
          <ac:grpSpMkLst>
            <pc:docMk/>
            <pc:sldMk cId="58855581" sldId="267"/>
            <ac:grpSpMk id="117" creationId="{526FACAF-96CD-49A0-BA74-28FEF4445698}"/>
          </ac:grpSpMkLst>
        </pc:grpChg>
        <pc:grpChg chg="mod topLvl">
          <ac:chgData name="Ettore Minelli" userId="7870a1ad-01cf-4239-8cce-750deae7f4ef" providerId="ADAL" clId="{0FDC7236-0C66-43F6-99AF-1100E6B9ED67}" dt="2022-10-27T15:44:08.995" v="4692" actId="165"/>
          <ac:grpSpMkLst>
            <pc:docMk/>
            <pc:sldMk cId="58855581" sldId="267"/>
            <ac:grpSpMk id="118" creationId="{E9F73571-B57F-4A65-BF56-BD8B20330FDC}"/>
          </ac:grpSpMkLst>
        </pc:grpChg>
        <pc:grpChg chg="del mod topLvl">
          <ac:chgData name="Ettore Minelli" userId="7870a1ad-01cf-4239-8cce-750deae7f4ef" providerId="ADAL" clId="{0FDC7236-0C66-43F6-99AF-1100E6B9ED67}" dt="2022-10-27T14:44:35.704" v="4291" actId="478"/>
          <ac:grpSpMkLst>
            <pc:docMk/>
            <pc:sldMk cId="58855581" sldId="267"/>
            <ac:grpSpMk id="119" creationId="{AE04685B-FF8E-421C-82A8-09F46ADCA684}"/>
          </ac:grpSpMkLst>
        </pc:grpChg>
        <pc:grpChg chg="add del mod">
          <ac:chgData name="Ettore Minelli" userId="7870a1ad-01cf-4239-8cce-750deae7f4ef" providerId="ADAL" clId="{0FDC7236-0C66-43F6-99AF-1100E6B9ED67}" dt="2022-10-27T14:53:37.153" v="4341" actId="165"/>
          <ac:grpSpMkLst>
            <pc:docMk/>
            <pc:sldMk cId="58855581" sldId="267"/>
            <ac:grpSpMk id="138" creationId="{C71496F6-6E96-483C-9EC0-03EB71FA7A9E}"/>
          </ac:grpSpMkLst>
        </pc:grpChg>
        <pc:grpChg chg="del mod topLvl">
          <ac:chgData name="Ettore Minelli" userId="7870a1ad-01cf-4239-8cce-750deae7f4ef" providerId="ADAL" clId="{0FDC7236-0C66-43F6-99AF-1100E6B9ED67}" dt="2022-10-27T14:54:05.254" v="4347" actId="165"/>
          <ac:grpSpMkLst>
            <pc:docMk/>
            <pc:sldMk cId="58855581" sldId="267"/>
            <ac:grpSpMk id="139" creationId="{90441DA5-2136-494D-9ECE-370686E612F3}"/>
          </ac:grpSpMkLst>
        </pc:grpChg>
        <pc:grpChg chg="del mod topLvl">
          <ac:chgData name="Ettore Minelli" userId="7870a1ad-01cf-4239-8cce-750deae7f4ef" providerId="ADAL" clId="{0FDC7236-0C66-43F6-99AF-1100E6B9ED67}" dt="2022-10-27T14:53:39.105" v="4342" actId="478"/>
          <ac:grpSpMkLst>
            <pc:docMk/>
            <pc:sldMk cId="58855581" sldId="267"/>
            <ac:grpSpMk id="140" creationId="{6C41F42B-D451-4CAB-95E0-1D8765026EDB}"/>
          </ac:grpSpMkLst>
        </pc:grpChg>
        <pc:grpChg chg="add del mod">
          <ac:chgData name="Ettore Minelli" userId="7870a1ad-01cf-4239-8cce-750deae7f4ef" providerId="ADAL" clId="{0FDC7236-0C66-43F6-99AF-1100E6B9ED67}" dt="2022-10-27T14:54:21.920" v="4351" actId="165"/>
          <ac:grpSpMkLst>
            <pc:docMk/>
            <pc:sldMk cId="58855581" sldId="267"/>
            <ac:grpSpMk id="159" creationId="{48C4EAB1-B963-4C91-B26C-4405144F9A76}"/>
          </ac:grpSpMkLst>
        </pc:grpChg>
        <pc:grpChg chg="mod topLvl">
          <ac:chgData name="Ettore Minelli" userId="7870a1ad-01cf-4239-8cce-750deae7f4ef" providerId="ADAL" clId="{0FDC7236-0C66-43F6-99AF-1100E6B9ED67}" dt="2022-10-27T15:44:08.995" v="4692" actId="165"/>
          <ac:grpSpMkLst>
            <pc:docMk/>
            <pc:sldMk cId="58855581" sldId="267"/>
            <ac:grpSpMk id="160" creationId="{79A0BE71-F3AB-44FA-B96D-B8E7C2D7EA76}"/>
          </ac:grpSpMkLst>
        </pc:grpChg>
        <pc:grpChg chg="del mod topLvl">
          <ac:chgData name="Ettore Minelli" userId="7870a1ad-01cf-4239-8cce-750deae7f4ef" providerId="ADAL" clId="{0FDC7236-0C66-43F6-99AF-1100E6B9ED67}" dt="2022-10-27T14:54:23.753" v="4352" actId="478"/>
          <ac:grpSpMkLst>
            <pc:docMk/>
            <pc:sldMk cId="58855581" sldId="267"/>
            <ac:grpSpMk id="161" creationId="{090A4B15-B76C-4ECA-B21B-BA983ED6F156}"/>
          </ac:grpSpMkLst>
        </pc:grpChg>
        <pc:grpChg chg="add del mod">
          <ac:chgData name="Ettore Minelli" userId="7870a1ad-01cf-4239-8cce-750deae7f4ef" providerId="ADAL" clId="{0FDC7236-0C66-43F6-99AF-1100E6B9ED67}" dt="2022-10-27T15:44:08.995" v="4692" actId="165"/>
          <ac:grpSpMkLst>
            <pc:docMk/>
            <pc:sldMk cId="58855581" sldId="267"/>
            <ac:grpSpMk id="226" creationId="{F3217341-393B-47FA-B462-63A62356D7B6}"/>
          </ac:grpSpMkLst>
        </pc:grpChg>
        <pc:picChg chg="add mod ord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7" creationId="{9A97204D-D1CD-44C1-937F-67D05202E4EB}"/>
          </ac:picMkLst>
        </pc:picChg>
        <pc:picChg chg="add mod ord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9" creationId="{61A50F0C-119C-4DB0-9839-EA0007F216F8}"/>
          </ac:picMkLst>
        </pc:picChg>
        <pc:picChg chg="add mod ord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11" creationId="{A0D2F5C0-5243-48B6-9C31-E59B891B4E19}"/>
          </ac:picMkLst>
        </pc:picChg>
        <pc:picChg chg="add mod ord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13" creationId="{EED1D8FB-AABD-464E-B90E-B4604CBEFE04}"/>
          </ac:picMkLst>
        </pc:picChg>
        <pc:picChg chg="del mod topLvl">
          <ac:chgData name="Ettore Minelli" userId="7870a1ad-01cf-4239-8cce-750deae7f4ef" providerId="ADAL" clId="{0FDC7236-0C66-43F6-99AF-1100E6B9ED67}" dt="2022-10-27T14:28:07.866" v="4074" actId="478"/>
          <ac:picMkLst>
            <pc:docMk/>
            <pc:sldMk cId="58855581" sldId="267"/>
            <ac:picMk id="18" creationId="{02E85FC8-23CE-4668-A124-08938AB74A11}"/>
          </ac:picMkLst>
        </pc:picChg>
        <pc:picChg chg="del mod topLvl">
          <ac:chgData name="Ettore Minelli" userId="7870a1ad-01cf-4239-8cce-750deae7f4ef" providerId="ADAL" clId="{0FDC7236-0C66-43F6-99AF-1100E6B9ED67}" dt="2022-10-27T14:28:08.293" v="4075" actId="478"/>
          <ac:picMkLst>
            <pc:docMk/>
            <pc:sldMk cId="58855581" sldId="267"/>
            <ac:picMk id="19" creationId="{BA2BC2CC-3FEE-47A6-81ED-E5EF76B82399}"/>
          </ac:picMkLst>
        </pc:picChg>
        <pc:picChg chg="del mod topLvl">
          <ac:chgData name="Ettore Minelli" userId="7870a1ad-01cf-4239-8cce-750deae7f4ef" providerId="ADAL" clId="{0FDC7236-0C66-43F6-99AF-1100E6B9ED67}" dt="2022-10-27T14:28:07.330" v="4073" actId="478"/>
          <ac:picMkLst>
            <pc:docMk/>
            <pc:sldMk cId="58855581" sldId="267"/>
            <ac:picMk id="20" creationId="{ADC68ABD-CE89-40A6-ACE0-F2BCBC49E317}"/>
          </ac:picMkLst>
        </pc:picChg>
        <pc:picChg chg="del mod topLvl">
          <ac:chgData name="Ettore Minelli" userId="7870a1ad-01cf-4239-8cce-750deae7f4ef" providerId="ADAL" clId="{0FDC7236-0C66-43F6-99AF-1100E6B9ED67}" dt="2022-10-27T14:28:06.510" v="4072" actId="478"/>
          <ac:picMkLst>
            <pc:docMk/>
            <pc:sldMk cId="58855581" sldId="267"/>
            <ac:picMk id="21" creationId="{5CFD6F91-86F6-42B4-8A5A-8A8E11CC0047}"/>
          </ac:picMkLst>
        </pc:picChg>
        <pc:picChg chg="add mod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24" creationId="{43446CAF-DF57-490B-9EB1-983F4FCEA19C}"/>
          </ac:picMkLst>
        </pc:picChg>
        <pc:picChg chg="add mod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25" creationId="{2E979CFF-83BA-4A75-B5F0-9A3E6BD1210F}"/>
          </ac:picMkLst>
        </pc:picChg>
        <pc:picChg chg="add mod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26" creationId="{54EFD349-7D6D-48A9-B694-F817E6635529}"/>
          </ac:picMkLst>
        </pc:picChg>
        <pc:picChg chg="mod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29" creationId="{7F54DC70-165B-4C31-BE6F-01E0380D8275}"/>
          </ac:picMkLst>
        </pc:picChg>
        <pc:picChg chg="mod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30" creationId="{C950AB8A-9125-4D1F-9935-EB960C996E13}"/>
          </ac:picMkLst>
        </pc:picChg>
        <pc:picChg chg="mod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31" creationId="{14C50579-C687-410E-A962-FD3D73B672D5}"/>
          </ac:picMkLst>
        </pc:picChg>
        <pc:picChg chg="add del mod topLvl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37" creationId="{C4114F6E-BB5E-45E6-A50B-E02FEA12EE1F}"/>
          </ac:picMkLst>
        </pc:picChg>
        <pc:picChg chg="add del mod topLvl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38" creationId="{03926F8D-4DDC-4F1E-9F8B-31CF3253D343}"/>
          </ac:picMkLst>
        </pc:picChg>
        <pc:picChg chg="add del mod topLvl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39" creationId="{D1039C13-3056-433B-AE46-1E98D9131D2A}"/>
          </ac:picMkLst>
        </pc:picChg>
        <pc:picChg chg="add del mod topLvl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40" creationId="{69958777-5AE1-49E4-887B-D16CA9DE22F0}"/>
          </ac:picMkLst>
        </pc:picChg>
        <pc:picChg chg="del mod">
          <ac:chgData name="Ettore Minelli" userId="7870a1ad-01cf-4239-8cce-750deae7f4ef" providerId="ADAL" clId="{0FDC7236-0C66-43F6-99AF-1100E6B9ED67}" dt="2022-10-27T14:38:04.147" v="4163" actId="478"/>
          <ac:picMkLst>
            <pc:docMk/>
            <pc:sldMk cId="58855581" sldId="267"/>
            <ac:picMk id="44" creationId="{68D67F80-FD05-4A44-B51A-DBD972639997}"/>
          </ac:picMkLst>
        </pc:picChg>
        <pc:picChg chg="del mod">
          <ac:chgData name="Ettore Minelli" userId="7870a1ad-01cf-4239-8cce-750deae7f4ef" providerId="ADAL" clId="{0FDC7236-0C66-43F6-99AF-1100E6B9ED67}" dt="2022-10-27T14:38:00.113" v="4159" actId="478"/>
          <ac:picMkLst>
            <pc:docMk/>
            <pc:sldMk cId="58855581" sldId="267"/>
            <ac:picMk id="45" creationId="{D2CB3851-938B-4783-B98F-F640093A44F5}"/>
          </ac:picMkLst>
        </pc:picChg>
        <pc:picChg chg="del mod">
          <ac:chgData name="Ettore Minelli" userId="7870a1ad-01cf-4239-8cce-750deae7f4ef" providerId="ADAL" clId="{0FDC7236-0C66-43F6-99AF-1100E6B9ED67}" dt="2022-10-27T14:38:05.464" v="4164" actId="478"/>
          <ac:picMkLst>
            <pc:docMk/>
            <pc:sldMk cId="58855581" sldId="267"/>
            <ac:picMk id="46" creationId="{07B8CCEA-B30D-4681-BDBB-ECF98C9D99BC}"/>
          </ac:picMkLst>
        </pc:picChg>
        <pc:picChg chg="del mod">
          <ac:chgData name="Ettore Minelli" userId="7870a1ad-01cf-4239-8cce-750deae7f4ef" providerId="ADAL" clId="{0FDC7236-0C66-43F6-99AF-1100E6B9ED67}" dt="2022-10-27T14:38:06.930" v="4165" actId="478"/>
          <ac:picMkLst>
            <pc:docMk/>
            <pc:sldMk cId="58855581" sldId="267"/>
            <ac:picMk id="47" creationId="{013E732B-368B-4C81-B342-E2CF3F0F6C99}"/>
          </ac:picMkLst>
        </pc:picChg>
        <pc:picChg chg="mod">
          <ac:chgData name="Ettore Minelli" userId="7870a1ad-01cf-4239-8cce-750deae7f4ef" providerId="ADAL" clId="{0FDC7236-0C66-43F6-99AF-1100E6B9ED67}" dt="2022-10-27T14:38:51.713" v="4175"/>
          <ac:picMkLst>
            <pc:docMk/>
            <pc:sldMk cId="58855581" sldId="267"/>
            <ac:picMk id="51" creationId="{3F931648-7FFA-4AEA-8BE1-4939D4618A3B}"/>
          </ac:picMkLst>
        </pc:picChg>
        <pc:picChg chg="mod">
          <ac:chgData name="Ettore Minelli" userId="7870a1ad-01cf-4239-8cce-750deae7f4ef" providerId="ADAL" clId="{0FDC7236-0C66-43F6-99AF-1100E6B9ED67}" dt="2022-10-27T14:38:51.713" v="4175"/>
          <ac:picMkLst>
            <pc:docMk/>
            <pc:sldMk cId="58855581" sldId="267"/>
            <ac:picMk id="52" creationId="{BC1C8165-61C6-4A53-BA25-79C1DD5252F3}"/>
          </ac:picMkLst>
        </pc:picChg>
        <pc:picChg chg="mod">
          <ac:chgData name="Ettore Minelli" userId="7870a1ad-01cf-4239-8cce-750deae7f4ef" providerId="ADAL" clId="{0FDC7236-0C66-43F6-99AF-1100E6B9ED67}" dt="2022-10-27T14:38:51.713" v="4175"/>
          <ac:picMkLst>
            <pc:docMk/>
            <pc:sldMk cId="58855581" sldId="267"/>
            <ac:picMk id="53" creationId="{EF073A46-DFEC-4930-9A6E-506211BC6C20}"/>
          </ac:picMkLst>
        </pc:picChg>
        <pc:picChg chg="mod">
          <ac:chgData name="Ettore Minelli" userId="7870a1ad-01cf-4239-8cce-750deae7f4ef" providerId="ADAL" clId="{0FDC7236-0C66-43F6-99AF-1100E6B9ED67}" dt="2022-10-27T14:38:51.713" v="4175"/>
          <ac:picMkLst>
            <pc:docMk/>
            <pc:sldMk cId="58855581" sldId="267"/>
            <ac:picMk id="54" creationId="{00C866B2-15C2-44C5-A527-B2BBBC39670A}"/>
          </ac:picMkLst>
        </pc:picChg>
        <pc:picChg chg="add mod topLvl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181" creationId="{7E959811-667E-4AB5-978C-8050DC1E8524}"/>
          </ac:picMkLst>
        </pc:picChg>
        <pc:picChg chg="add del mod">
          <ac:chgData name="Ettore Minelli" userId="7870a1ad-01cf-4239-8cce-750deae7f4ef" providerId="ADAL" clId="{0FDC7236-0C66-43F6-99AF-1100E6B9ED67}" dt="2022-10-27T14:48:52.114" v="4300" actId="478"/>
          <ac:picMkLst>
            <pc:docMk/>
            <pc:sldMk cId="58855581" sldId="267"/>
            <ac:picMk id="183" creationId="{B6D9E282-836F-496D-A6E3-A2AFF1A96573}"/>
          </ac:picMkLst>
        </pc:picChg>
        <pc:picChg chg="add mod topLvl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185" creationId="{6B198CCD-F9F5-4437-8863-15D23E104B00}"/>
          </ac:picMkLst>
        </pc:picChg>
        <pc:picChg chg="add del mod">
          <ac:chgData name="Ettore Minelli" userId="7870a1ad-01cf-4239-8cce-750deae7f4ef" providerId="ADAL" clId="{0FDC7236-0C66-43F6-99AF-1100E6B9ED67}" dt="2022-10-27T14:50:08.961" v="4313" actId="478"/>
          <ac:picMkLst>
            <pc:docMk/>
            <pc:sldMk cId="58855581" sldId="267"/>
            <ac:picMk id="187" creationId="{A8CE90E4-41A9-4F73-8C11-1A83DECB4976}"/>
          </ac:picMkLst>
        </pc:picChg>
        <pc:picChg chg="add mod topLvl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189" creationId="{BC80324C-C5FF-4604-8978-AE57BF17175C}"/>
          </ac:picMkLst>
        </pc:picChg>
        <pc:picChg chg="add mod topLvl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190" creationId="{E7BD17E0-EFE5-43F1-BC3C-A39909FAA57D}"/>
          </ac:picMkLst>
        </pc:picChg>
        <pc:picChg chg="add mod topLvl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191" creationId="{2BEBE53C-E2E6-4639-9C91-1306ADE5920E}"/>
          </ac:picMkLst>
        </pc:picChg>
        <pc:picChg chg="add mod topLvl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193" creationId="{AE3C8BE0-61F5-4A83-96E4-AF3008CBBA39}"/>
          </ac:picMkLst>
        </pc:picChg>
        <pc:picChg chg="add mod topLvl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195" creationId="{2A8E8584-C178-4C13-9516-2C87E3931842}"/>
          </ac:picMkLst>
        </pc:picChg>
        <pc:picChg chg="add mod topLvl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212" creationId="{67AE944E-EAC9-42FB-8BAA-DFB4E7BF0431}"/>
          </ac:picMkLst>
        </pc:picChg>
        <pc:picChg chg="add mod topLvl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213" creationId="{59536932-5653-440A-AB08-A8CD8015E4FD}"/>
          </ac:picMkLst>
        </pc:picChg>
        <pc:picChg chg="add mod topLvl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214" creationId="{56613634-BC60-4743-821E-83CB7C201BDB}"/>
          </ac:picMkLst>
        </pc:picChg>
        <pc:picChg chg="add del mod topLvl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215" creationId="{B08D1725-B846-4385-AB41-F2B670660100}"/>
          </ac:picMkLst>
        </pc:picChg>
        <pc:picChg chg="add del mod">
          <ac:chgData name="Ettore Minelli" userId="7870a1ad-01cf-4239-8cce-750deae7f4ef" providerId="ADAL" clId="{0FDC7236-0C66-43F6-99AF-1100E6B9ED67}" dt="2022-10-27T15:09:23.590" v="4563" actId="931"/>
          <ac:picMkLst>
            <pc:docMk/>
            <pc:sldMk cId="58855581" sldId="267"/>
            <ac:picMk id="218" creationId="{38CE465A-9416-45FC-B064-3F4FA2767B52}"/>
          </ac:picMkLst>
        </pc:picChg>
        <pc:picChg chg="add mod topLvl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222" creationId="{5F300D6A-A19A-4627-9E5D-D7B1EBF62519}"/>
          </ac:picMkLst>
        </pc:picChg>
        <pc:picChg chg="add mod topLvl">
          <ac:chgData name="Ettore Minelli" userId="7870a1ad-01cf-4239-8cce-750deae7f4ef" providerId="ADAL" clId="{0FDC7236-0C66-43F6-99AF-1100E6B9ED67}" dt="2022-10-27T15:44:08.995" v="4692" actId="165"/>
          <ac:picMkLst>
            <pc:docMk/>
            <pc:sldMk cId="58855581" sldId="267"/>
            <ac:picMk id="224" creationId="{B4C59644-3F69-4C7B-911B-D8DD1AC867AA}"/>
          </ac:picMkLst>
        </pc:picChg>
        <pc:cxnChg chg="add mod">
          <ac:chgData name="Ettore Minelli" userId="7870a1ad-01cf-4239-8cce-750deae7f4ef" providerId="ADAL" clId="{0FDC7236-0C66-43F6-99AF-1100E6B9ED67}" dt="2022-10-27T15:44:08.995" v="4692" actId="165"/>
          <ac:cxnSpMkLst>
            <pc:docMk/>
            <pc:sldMk cId="58855581" sldId="267"/>
            <ac:cxnSpMk id="63" creationId="{BF4AEAB6-190A-4A9B-BFB7-B8677D37838C}"/>
          </ac:cxnSpMkLst>
        </pc:cxnChg>
        <pc:cxnChg chg="add mod">
          <ac:chgData name="Ettore Minelli" userId="7870a1ad-01cf-4239-8cce-750deae7f4ef" providerId="ADAL" clId="{0FDC7236-0C66-43F6-99AF-1100E6B9ED67}" dt="2022-10-27T15:44:08.995" v="4692" actId="165"/>
          <ac:cxnSpMkLst>
            <pc:docMk/>
            <pc:sldMk cId="58855581" sldId="267"/>
            <ac:cxnSpMk id="67" creationId="{15BF04C0-7126-4213-A102-89F31C53D9E6}"/>
          </ac:cxnSpMkLst>
        </pc:cxnChg>
        <pc:cxnChg chg="add mod">
          <ac:chgData name="Ettore Minelli" userId="7870a1ad-01cf-4239-8cce-750deae7f4ef" providerId="ADAL" clId="{0FDC7236-0C66-43F6-99AF-1100E6B9ED67}" dt="2022-10-27T15:44:08.995" v="4692" actId="165"/>
          <ac:cxnSpMkLst>
            <pc:docMk/>
            <pc:sldMk cId="58855581" sldId="267"/>
            <ac:cxnSpMk id="69" creationId="{8F302582-15C3-4750-895F-614B23B35B79}"/>
          </ac:cxnSpMkLst>
        </pc:cxnChg>
        <pc:cxnChg chg="add mod">
          <ac:chgData name="Ettore Minelli" userId="7870a1ad-01cf-4239-8cce-750deae7f4ef" providerId="ADAL" clId="{0FDC7236-0C66-43F6-99AF-1100E6B9ED67}" dt="2022-10-27T15:44:08.995" v="4692" actId="165"/>
          <ac:cxnSpMkLst>
            <pc:docMk/>
            <pc:sldMk cId="58855581" sldId="267"/>
            <ac:cxnSpMk id="71" creationId="{171D01BF-4B6E-4564-8734-625C6F46F3C6}"/>
          </ac:cxnSpMkLst>
        </pc:cxnChg>
        <pc:cxnChg chg="add mod">
          <ac:chgData name="Ettore Minelli" userId="7870a1ad-01cf-4239-8cce-750deae7f4ef" providerId="ADAL" clId="{0FDC7236-0C66-43F6-99AF-1100E6B9ED67}" dt="2022-10-27T15:44:08.995" v="4692" actId="165"/>
          <ac:cxnSpMkLst>
            <pc:docMk/>
            <pc:sldMk cId="58855581" sldId="267"/>
            <ac:cxnSpMk id="73" creationId="{A60EE1E0-FABF-4477-A75E-7F1DFCD7E786}"/>
          </ac:cxnSpMkLst>
        </pc:cxnChg>
        <pc:cxnChg chg="add mod">
          <ac:chgData name="Ettore Minelli" userId="7870a1ad-01cf-4239-8cce-750deae7f4ef" providerId="ADAL" clId="{0FDC7236-0C66-43F6-99AF-1100E6B9ED67}" dt="2022-10-27T15:44:08.995" v="4692" actId="165"/>
          <ac:cxnSpMkLst>
            <pc:docMk/>
            <pc:sldMk cId="58855581" sldId="267"/>
            <ac:cxnSpMk id="75" creationId="{D5867FB7-50DD-44EE-A1DB-FD8C027BEA7B}"/>
          </ac:cxnSpMkLst>
        </pc:cxnChg>
        <pc:cxnChg chg="add mod">
          <ac:chgData name="Ettore Minelli" userId="7870a1ad-01cf-4239-8cce-750deae7f4ef" providerId="ADAL" clId="{0FDC7236-0C66-43F6-99AF-1100E6B9ED67}" dt="2022-10-27T15:44:08.995" v="4692" actId="165"/>
          <ac:cxnSpMkLst>
            <pc:docMk/>
            <pc:sldMk cId="58855581" sldId="267"/>
            <ac:cxnSpMk id="77" creationId="{7D510649-2E97-4C28-B2D6-8782D23EEDD9}"/>
          </ac:cxnSpMkLst>
        </pc:cxnChg>
        <pc:cxnChg chg="add mod">
          <ac:chgData name="Ettore Minelli" userId="7870a1ad-01cf-4239-8cce-750deae7f4ef" providerId="ADAL" clId="{0FDC7236-0C66-43F6-99AF-1100E6B9ED67}" dt="2022-10-27T15:44:08.995" v="4692" actId="165"/>
          <ac:cxnSpMkLst>
            <pc:docMk/>
            <pc:sldMk cId="58855581" sldId="267"/>
            <ac:cxnSpMk id="79" creationId="{C9802913-3EC0-41C6-9CE1-181B169B6EFD}"/>
          </ac:cxnSpMkLst>
        </pc:cxnChg>
        <pc:cxnChg chg="add mod">
          <ac:chgData name="Ettore Minelli" userId="7870a1ad-01cf-4239-8cce-750deae7f4ef" providerId="ADAL" clId="{0FDC7236-0C66-43F6-99AF-1100E6B9ED67}" dt="2022-10-27T15:44:08.995" v="4692" actId="165"/>
          <ac:cxnSpMkLst>
            <pc:docMk/>
            <pc:sldMk cId="58855581" sldId="267"/>
            <ac:cxnSpMk id="81" creationId="{16CE7B54-1462-42BE-9FCC-3EF26A9196C4}"/>
          </ac:cxnSpMkLst>
        </pc:cxnChg>
        <pc:cxnChg chg="add mod">
          <ac:chgData name="Ettore Minelli" userId="7870a1ad-01cf-4239-8cce-750deae7f4ef" providerId="ADAL" clId="{0FDC7236-0C66-43F6-99AF-1100E6B9ED67}" dt="2022-10-27T15:44:08.995" v="4692" actId="165"/>
          <ac:cxnSpMkLst>
            <pc:docMk/>
            <pc:sldMk cId="58855581" sldId="267"/>
            <ac:cxnSpMk id="83" creationId="{5046434A-6E97-4EF7-BA22-72EB1D2873B2}"/>
          </ac:cxnSpMkLst>
        </pc:cxnChg>
        <pc:cxnChg chg="mod">
          <ac:chgData name="Ettore Minelli" userId="7870a1ad-01cf-4239-8cce-750deae7f4ef" providerId="ADAL" clId="{0FDC7236-0C66-43F6-99AF-1100E6B9ED67}" dt="2022-10-27T14:42:44.323" v="4240" actId="21"/>
          <ac:cxnSpMkLst>
            <pc:docMk/>
            <pc:sldMk cId="58855581" sldId="267"/>
            <ac:cxnSpMk id="105" creationId="{11DE0CC1-FDC0-433A-BFB1-02CA5E43A91B}"/>
          </ac:cxnSpMkLst>
        </pc:cxnChg>
        <pc:cxnChg chg="mod">
          <ac:chgData name="Ettore Minelli" userId="7870a1ad-01cf-4239-8cce-750deae7f4ef" providerId="ADAL" clId="{0FDC7236-0C66-43F6-99AF-1100E6B9ED67}" dt="2022-10-27T14:42:44.323" v="4240" actId="21"/>
          <ac:cxnSpMkLst>
            <pc:docMk/>
            <pc:sldMk cId="58855581" sldId="267"/>
            <ac:cxnSpMk id="106" creationId="{64B86F97-9DB0-412D-A08A-2C76AFAA73B4}"/>
          </ac:cxnSpMkLst>
        </pc:cxnChg>
        <pc:cxnChg chg="mod">
          <ac:chgData name="Ettore Minelli" userId="7870a1ad-01cf-4239-8cce-750deae7f4ef" providerId="ADAL" clId="{0FDC7236-0C66-43F6-99AF-1100E6B9ED67}" dt="2022-10-27T14:42:44.323" v="4240" actId="21"/>
          <ac:cxnSpMkLst>
            <pc:docMk/>
            <pc:sldMk cId="58855581" sldId="267"/>
            <ac:cxnSpMk id="107" creationId="{EC85FABD-1DD4-47F5-81BE-12AAC516A44D}"/>
          </ac:cxnSpMkLst>
        </pc:cxnChg>
        <pc:cxnChg chg="mod">
          <ac:chgData name="Ettore Minelli" userId="7870a1ad-01cf-4239-8cce-750deae7f4ef" providerId="ADAL" clId="{0FDC7236-0C66-43F6-99AF-1100E6B9ED67}" dt="2022-10-27T14:42:44.323" v="4240" actId="21"/>
          <ac:cxnSpMkLst>
            <pc:docMk/>
            <pc:sldMk cId="58855581" sldId="267"/>
            <ac:cxnSpMk id="108" creationId="{EA6BC7DB-AD41-4206-89FC-E4DD6BF1C1C0}"/>
          </ac:cxnSpMkLst>
        </pc:cxnChg>
        <pc:cxnChg chg="mod">
          <ac:chgData name="Ettore Minelli" userId="7870a1ad-01cf-4239-8cce-750deae7f4ef" providerId="ADAL" clId="{0FDC7236-0C66-43F6-99AF-1100E6B9ED67}" dt="2022-10-27T14:42:44.323" v="4240" actId="21"/>
          <ac:cxnSpMkLst>
            <pc:docMk/>
            <pc:sldMk cId="58855581" sldId="267"/>
            <ac:cxnSpMk id="109" creationId="{B245A53C-CEFA-4CF9-BDC3-F471FCE1191D}"/>
          </ac:cxnSpMkLst>
        </pc:cxnChg>
        <pc:cxnChg chg="mod">
          <ac:chgData name="Ettore Minelli" userId="7870a1ad-01cf-4239-8cce-750deae7f4ef" providerId="ADAL" clId="{0FDC7236-0C66-43F6-99AF-1100E6B9ED67}" dt="2022-10-27T14:42:44.323" v="4240" actId="21"/>
          <ac:cxnSpMkLst>
            <pc:docMk/>
            <pc:sldMk cId="58855581" sldId="267"/>
            <ac:cxnSpMk id="110" creationId="{C525BBBC-4B0F-499E-96CE-41B5FDBD2831}"/>
          </ac:cxnSpMkLst>
        </pc:cxnChg>
        <pc:cxnChg chg="mod">
          <ac:chgData name="Ettore Minelli" userId="7870a1ad-01cf-4239-8cce-750deae7f4ef" providerId="ADAL" clId="{0FDC7236-0C66-43F6-99AF-1100E6B9ED67}" dt="2022-10-27T14:42:44.323" v="4240" actId="21"/>
          <ac:cxnSpMkLst>
            <pc:docMk/>
            <pc:sldMk cId="58855581" sldId="267"/>
            <ac:cxnSpMk id="111" creationId="{AEE3E5B6-C6C5-4C16-B41D-1DDD262E3AC4}"/>
          </ac:cxnSpMkLst>
        </pc:cxnChg>
        <pc:cxnChg chg="mod">
          <ac:chgData name="Ettore Minelli" userId="7870a1ad-01cf-4239-8cce-750deae7f4ef" providerId="ADAL" clId="{0FDC7236-0C66-43F6-99AF-1100E6B9ED67}" dt="2022-10-27T14:42:44.323" v="4240" actId="21"/>
          <ac:cxnSpMkLst>
            <pc:docMk/>
            <pc:sldMk cId="58855581" sldId="267"/>
            <ac:cxnSpMk id="112" creationId="{CAECEDEC-EB97-4E9D-BE5F-5A312945B5B7}"/>
          </ac:cxnSpMkLst>
        </pc:cxnChg>
        <pc:cxnChg chg="mod">
          <ac:chgData name="Ettore Minelli" userId="7870a1ad-01cf-4239-8cce-750deae7f4ef" providerId="ADAL" clId="{0FDC7236-0C66-43F6-99AF-1100E6B9ED67}" dt="2022-10-27T14:42:44.323" v="4240" actId="21"/>
          <ac:cxnSpMkLst>
            <pc:docMk/>
            <pc:sldMk cId="58855581" sldId="267"/>
            <ac:cxnSpMk id="113" creationId="{BBB594C1-830C-4012-B473-BA54FF7707CC}"/>
          </ac:cxnSpMkLst>
        </pc:cxnChg>
        <pc:cxnChg chg="mod">
          <ac:chgData name="Ettore Minelli" userId="7870a1ad-01cf-4239-8cce-750deae7f4ef" providerId="ADAL" clId="{0FDC7236-0C66-43F6-99AF-1100E6B9ED67}" dt="2022-10-27T14:42:44.323" v="4240" actId="21"/>
          <ac:cxnSpMkLst>
            <pc:docMk/>
            <pc:sldMk cId="58855581" sldId="267"/>
            <ac:cxnSpMk id="114" creationId="{71B3150C-98A2-484A-9B34-443CD0F38428}"/>
          </ac:cxnSpMkLst>
        </pc:cxnChg>
        <pc:cxnChg chg="mod">
          <ac:chgData name="Ettore Minelli" userId="7870a1ad-01cf-4239-8cce-750deae7f4ef" providerId="ADAL" clId="{0FDC7236-0C66-43F6-99AF-1100E6B9ED67}" dt="2022-10-27T14:44:35.704" v="4291" actId="478"/>
          <ac:cxnSpMkLst>
            <pc:docMk/>
            <pc:sldMk cId="58855581" sldId="267"/>
            <ac:cxnSpMk id="126" creationId="{C6377121-D1FF-4469-91A3-4A42FCDE285F}"/>
          </ac:cxnSpMkLst>
        </pc:cxnChg>
        <pc:cxnChg chg="mod">
          <ac:chgData name="Ettore Minelli" userId="7870a1ad-01cf-4239-8cce-750deae7f4ef" providerId="ADAL" clId="{0FDC7236-0C66-43F6-99AF-1100E6B9ED67}" dt="2022-10-27T14:44:35.704" v="4291" actId="478"/>
          <ac:cxnSpMkLst>
            <pc:docMk/>
            <pc:sldMk cId="58855581" sldId="267"/>
            <ac:cxnSpMk id="127" creationId="{F22C5C98-AFBC-49DA-B76A-3A0D8F396857}"/>
          </ac:cxnSpMkLst>
        </pc:cxnChg>
        <pc:cxnChg chg="mod">
          <ac:chgData name="Ettore Minelli" userId="7870a1ad-01cf-4239-8cce-750deae7f4ef" providerId="ADAL" clId="{0FDC7236-0C66-43F6-99AF-1100E6B9ED67}" dt="2022-10-27T14:44:35.704" v="4291" actId="478"/>
          <ac:cxnSpMkLst>
            <pc:docMk/>
            <pc:sldMk cId="58855581" sldId="267"/>
            <ac:cxnSpMk id="128" creationId="{F9CBDD7C-65B1-4F99-9DF4-6227F5DEA879}"/>
          </ac:cxnSpMkLst>
        </pc:cxnChg>
        <pc:cxnChg chg="mod">
          <ac:chgData name="Ettore Minelli" userId="7870a1ad-01cf-4239-8cce-750deae7f4ef" providerId="ADAL" clId="{0FDC7236-0C66-43F6-99AF-1100E6B9ED67}" dt="2022-10-27T14:44:35.704" v="4291" actId="478"/>
          <ac:cxnSpMkLst>
            <pc:docMk/>
            <pc:sldMk cId="58855581" sldId="267"/>
            <ac:cxnSpMk id="129" creationId="{314CFDA6-408B-49D0-8751-699FBEBD4359}"/>
          </ac:cxnSpMkLst>
        </pc:cxnChg>
        <pc:cxnChg chg="mod">
          <ac:chgData name="Ettore Minelli" userId="7870a1ad-01cf-4239-8cce-750deae7f4ef" providerId="ADAL" clId="{0FDC7236-0C66-43F6-99AF-1100E6B9ED67}" dt="2022-10-27T14:44:35.704" v="4291" actId="478"/>
          <ac:cxnSpMkLst>
            <pc:docMk/>
            <pc:sldMk cId="58855581" sldId="267"/>
            <ac:cxnSpMk id="130" creationId="{66BF8F73-17CC-4BC1-9EE8-063D56C197A8}"/>
          </ac:cxnSpMkLst>
        </pc:cxnChg>
        <pc:cxnChg chg="mod">
          <ac:chgData name="Ettore Minelli" userId="7870a1ad-01cf-4239-8cce-750deae7f4ef" providerId="ADAL" clId="{0FDC7236-0C66-43F6-99AF-1100E6B9ED67}" dt="2022-10-27T14:44:35.704" v="4291" actId="478"/>
          <ac:cxnSpMkLst>
            <pc:docMk/>
            <pc:sldMk cId="58855581" sldId="267"/>
            <ac:cxnSpMk id="131" creationId="{A706B078-0842-4D9C-A511-B51BA95DB702}"/>
          </ac:cxnSpMkLst>
        </pc:cxnChg>
        <pc:cxnChg chg="mod">
          <ac:chgData name="Ettore Minelli" userId="7870a1ad-01cf-4239-8cce-750deae7f4ef" providerId="ADAL" clId="{0FDC7236-0C66-43F6-99AF-1100E6B9ED67}" dt="2022-10-27T14:44:35.704" v="4291" actId="478"/>
          <ac:cxnSpMkLst>
            <pc:docMk/>
            <pc:sldMk cId="58855581" sldId="267"/>
            <ac:cxnSpMk id="132" creationId="{5E70BAED-D174-4A97-A4AB-002D9D00DB13}"/>
          </ac:cxnSpMkLst>
        </pc:cxnChg>
        <pc:cxnChg chg="mod">
          <ac:chgData name="Ettore Minelli" userId="7870a1ad-01cf-4239-8cce-750deae7f4ef" providerId="ADAL" clId="{0FDC7236-0C66-43F6-99AF-1100E6B9ED67}" dt="2022-10-27T14:44:35.704" v="4291" actId="478"/>
          <ac:cxnSpMkLst>
            <pc:docMk/>
            <pc:sldMk cId="58855581" sldId="267"/>
            <ac:cxnSpMk id="133" creationId="{BBC26E11-80F5-4072-89CD-F0A08B091D72}"/>
          </ac:cxnSpMkLst>
        </pc:cxnChg>
        <pc:cxnChg chg="mod">
          <ac:chgData name="Ettore Minelli" userId="7870a1ad-01cf-4239-8cce-750deae7f4ef" providerId="ADAL" clId="{0FDC7236-0C66-43F6-99AF-1100E6B9ED67}" dt="2022-10-27T14:44:35.704" v="4291" actId="478"/>
          <ac:cxnSpMkLst>
            <pc:docMk/>
            <pc:sldMk cId="58855581" sldId="267"/>
            <ac:cxnSpMk id="134" creationId="{8C34E49F-6B76-4E6E-ACED-8FAF7E6A8EF5}"/>
          </ac:cxnSpMkLst>
        </pc:cxnChg>
        <pc:cxnChg chg="mod">
          <ac:chgData name="Ettore Minelli" userId="7870a1ad-01cf-4239-8cce-750deae7f4ef" providerId="ADAL" clId="{0FDC7236-0C66-43F6-99AF-1100E6B9ED67}" dt="2022-10-27T14:44:35.704" v="4291" actId="478"/>
          <ac:cxnSpMkLst>
            <pc:docMk/>
            <pc:sldMk cId="58855581" sldId="267"/>
            <ac:cxnSpMk id="135" creationId="{8931A4B7-86DC-4F8F-92C6-568AEA2F718C}"/>
          </ac:cxnSpMkLst>
        </pc:cxnChg>
        <pc:cxnChg chg="mod">
          <ac:chgData name="Ettore Minelli" userId="7870a1ad-01cf-4239-8cce-750deae7f4ef" providerId="ADAL" clId="{0FDC7236-0C66-43F6-99AF-1100E6B9ED67}" dt="2022-10-27T14:53:39.105" v="4342" actId="478"/>
          <ac:cxnSpMkLst>
            <pc:docMk/>
            <pc:sldMk cId="58855581" sldId="267"/>
            <ac:cxnSpMk id="147" creationId="{2CFFD4A6-1215-4FD4-9DA9-2B0FA8B9AC17}"/>
          </ac:cxnSpMkLst>
        </pc:cxnChg>
        <pc:cxnChg chg="mod">
          <ac:chgData name="Ettore Minelli" userId="7870a1ad-01cf-4239-8cce-750deae7f4ef" providerId="ADAL" clId="{0FDC7236-0C66-43F6-99AF-1100E6B9ED67}" dt="2022-10-27T14:53:39.105" v="4342" actId="478"/>
          <ac:cxnSpMkLst>
            <pc:docMk/>
            <pc:sldMk cId="58855581" sldId="267"/>
            <ac:cxnSpMk id="148" creationId="{57147A2D-E0E2-4902-9307-B3B727362FD3}"/>
          </ac:cxnSpMkLst>
        </pc:cxnChg>
        <pc:cxnChg chg="mod">
          <ac:chgData name="Ettore Minelli" userId="7870a1ad-01cf-4239-8cce-750deae7f4ef" providerId="ADAL" clId="{0FDC7236-0C66-43F6-99AF-1100E6B9ED67}" dt="2022-10-27T14:53:39.105" v="4342" actId="478"/>
          <ac:cxnSpMkLst>
            <pc:docMk/>
            <pc:sldMk cId="58855581" sldId="267"/>
            <ac:cxnSpMk id="149" creationId="{5272FAB5-93F6-4055-9999-EA0E6D8D086F}"/>
          </ac:cxnSpMkLst>
        </pc:cxnChg>
        <pc:cxnChg chg="mod">
          <ac:chgData name="Ettore Minelli" userId="7870a1ad-01cf-4239-8cce-750deae7f4ef" providerId="ADAL" clId="{0FDC7236-0C66-43F6-99AF-1100E6B9ED67}" dt="2022-10-27T14:53:39.105" v="4342" actId="478"/>
          <ac:cxnSpMkLst>
            <pc:docMk/>
            <pc:sldMk cId="58855581" sldId="267"/>
            <ac:cxnSpMk id="150" creationId="{93614E40-6686-46E4-AAA5-588B41951A5E}"/>
          </ac:cxnSpMkLst>
        </pc:cxnChg>
        <pc:cxnChg chg="mod">
          <ac:chgData name="Ettore Minelli" userId="7870a1ad-01cf-4239-8cce-750deae7f4ef" providerId="ADAL" clId="{0FDC7236-0C66-43F6-99AF-1100E6B9ED67}" dt="2022-10-27T14:53:39.105" v="4342" actId="478"/>
          <ac:cxnSpMkLst>
            <pc:docMk/>
            <pc:sldMk cId="58855581" sldId="267"/>
            <ac:cxnSpMk id="151" creationId="{6FF6D99F-AA69-4D9C-BC85-B14F5C3D7BB9}"/>
          </ac:cxnSpMkLst>
        </pc:cxnChg>
        <pc:cxnChg chg="mod">
          <ac:chgData name="Ettore Minelli" userId="7870a1ad-01cf-4239-8cce-750deae7f4ef" providerId="ADAL" clId="{0FDC7236-0C66-43F6-99AF-1100E6B9ED67}" dt="2022-10-27T14:53:39.105" v="4342" actId="478"/>
          <ac:cxnSpMkLst>
            <pc:docMk/>
            <pc:sldMk cId="58855581" sldId="267"/>
            <ac:cxnSpMk id="152" creationId="{80E4BD39-B41D-4DB6-A92F-639D71BF4923}"/>
          </ac:cxnSpMkLst>
        </pc:cxnChg>
        <pc:cxnChg chg="mod">
          <ac:chgData name="Ettore Minelli" userId="7870a1ad-01cf-4239-8cce-750deae7f4ef" providerId="ADAL" clId="{0FDC7236-0C66-43F6-99AF-1100E6B9ED67}" dt="2022-10-27T14:53:39.105" v="4342" actId="478"/>
          <ac:cxnSpMkLst>
            <pc:docMk/>
            <pc:sldMk cId="58855581" sldId="267"/>
            <ac:cxnSpMk id="153" creationId="{A3A090F0-4935-4BB8-B119-E9E9FA04BD3F}"/>
          </ac:cxnSpMkLst>
        </pc:cxnChg>
        <pc:cxnChg chg="mod">
          <ac:chgData name="Ettore Minelli" userId="7870a1ad-01cf-4239-8cce-750deae7f4ef" providerId="ADAL" clId="{0FDC7236-0C66-43F6-99AF-1100E6B9ED67}" dt="2022-10-27T14:53:39.105" v="4342" actId="478"/>
          <ac:cxnSpMkLst>
            <pc:docMk/>
            <pc:sldMk cId="58855581" sldId="267"/>
            <ac:cxnSpMk id="154" creationId="{E22A9DB0-0DEB-48E2-B7E3-2A6130A269C7}"/>
          </ac:cxnSpMkLst>
        </pc:cxnChg>
        <pc:cxnChg chg="mod">
          <ac:chgData name="Ettore Minelli" userId="7870a1ad-01cf-4239-8cce-750deae7f4ef" providerId="ADAL" clId="{0FDC7236-0C66-43F6-99AF-1100E6B9ED67}" dt="2022-10-27T14:53:39.105" v="4342" actId="478"/>
          <ac:cxnSpMkLst>
            <pc:docMk/>
            <pc:sldMk cId="58855581" sldId="267"/>
            <ac:cxnSpMk id="155" creationId="{453EE7AD-D4C6-4F3E-8E74-717BD4780267}"/>
          </ac:cxnSpMkLst>
        </pc:cxnChg>
        <pc:cxnChg chg="mod">
          <ac:chgData name="Ettore Minelli" userId="7870a1ad-01cf-4239-8cce-750deae7f4ef" providerId="ADAL" clId="{0FDC7236-0C66-43F6-99AF-1100E6B9ED67}" dt="2022-10-27T14:53:39.105" v="4342" actId="478"/>
          <ac:cxnSpMkLst>
            <pc:docMk/>
            <pc:sldMk cId="58855581" sldId="267"/>
            <ac:cxnSpMk id="156" creationId="{C531557F-81A6-4B7D-9DE2-886C5EA840A9}"/>
          </ac:cxnSpMkLst>
        </pc:cxnChg>
        <pc:cxnChg chg="mod">
          <ac:chgData name="Ettore Minelli" userId="7870a1ad-01cf-4239-8cce-750deae7f4ef" providerId="ADAL" clId="{0FDC7236-0C66-43F6-99AF-1100E6B9ED67}" dt="2022-10-27T14:54:23.753" v="4352" actId="478"/>
          <ac:cxnSpMkLst>
            <pc:docMk/>
            <pc:sldMk cId="58855581" sldId="267"/>
            <ac:cxnSpMk id="168" creationId="{08C86C70-1A76-47BD-9146-BE0AD76DE4F3}"/>
          </ac:cxnSpMkLst>
        </pc:cxnChg>
        <pc:cxnChg chg="mod">
          <ac:chgData name="Ettore Minelli" userId="7870a1ad-01cf-4239-8cce-750deae7f4ef" providerId="ADAL" clId="{0FDC7236-0C66-43F6-99AF-1100E6B9ED67}" dt="2022-10-27T14:54:23.753" v="4352" actId="478"/>
          <ac:cxnSpMkLst>
            <pc:docMk/>
            <pc:sldMk cId="58855581" sldId="267"/>
            <ac:cxnSpMk id="169" creationId="{691661BF-7402-4514-BB48-FF65605814E6}"/>
          </ac:cxnSpMkLst>
        </pc:cxnChg>
        <pc:cxnChg chg="mod">
          <ac:chgData name="Ettore Minelli" userId="7870a1ad-01cf-4239-8cce-750deae7f4ef" providerId="ADAL" clId="{0FDC7236-0C66-43F6-99AF-1100E6B9ED67}" dt="2022-10-27T14:54:23.753" v="4352" actId="478"/>
          <ac:cxnSpMkLst>
            <pc:docMk/>
            <pc:sldMk cId="58855581" sldId="267"/>
            <ac:cxnSpMk id="170" creationId="{50FDE174-E91F-4C7C-A7A5-80A9D18CCC06}"/>
          </ac:cxnSpMkLst>
        </pc:cxnChg>
        <pc:cxnChg chg="mod">
          <ac:chgData name="Ettore Minelli" userId="7870a1ad-01cf-4239-8cce-750deae7f4ef" providerId="ADAL" clId="{0FDC7236-0C66-43F6-99AF-1100E6B9ED67}" dt="2022-10-27T14:54:23.753" v="4352" actId="478"/>
          <ac:cxnSpMkLst>
            <pc:docMk/>
            <pc:sldMk cId="58855581" sldId="267"/>
            <ac:cxnSpMk id="171" creationId="{E4284E7D-0763-4715-B201-3BABAA7920F0}"/>
          </ac:cxnSpMkLst>
        </pc:cxnChg>
        <pc:cxnChg chg="mod">
          <ac:chgData name="Ettore Minelli" userId="7870a1ad-01cf-4239-8cce-750deae7f4ef" providerId="ADAL" clId="{0FDC7236-0C66-43F6-99AF-1100E6B9ED67}" dt="2022-10-27T14:54:23.753" v="4352" actId="478"/>
          <ac:cxnSpMkLst>
            <pc:docMk/>
            <pc:sldMk cId="58855581" sldId="267"/>
            <ac:cxnSpMk id="172" creationId="{55C6A2DE-E4D4-439E-849F-C1D5BE9376E6}"/>
          </ac:cxnSpMkLst>
        </pc:cxnChg>
        <pc:cxnChg chg="mod">
          <ac:chgData name="Ettore Minelli" userId="7870a1ad-01cf-4239-8cce-750deae7f4ef" providerId="ADAL" clId="{0FDC7236-0C66-43F6-99AF-1100E6B9ED67}" dt="2022-10-27T14:54:23.753" v="4352" actId="478"/>
          <ac:cxnSpMkLst>
            <pc:docMk/>
            <pc:sldMk cId="58855581" sldId="267"/>
            <ac:cxnSpMk id="173" creationId="{731F4DF3-9F2A-47C5-B3E1-A56D8CB870AD}"/>
          </ac:cxnSpMkLst>
        </pc:cxnChg>
        <pc:cxnChg chg="mod">
          <ac:chgData name="Ettore Minelli" userId="7870a1ad-01cf-4239-8cce-750deae7f4ef" providerId="ADAL" clId="{0FDC7236-0C66-43F6-99AF-1100E6B9ED67}" dt="2022-10-27T14:54:23.753" v="4352" actId="478"/>
          <ac:cxnSpMkLst>
            <pc:docMk/>
            <pc:sldMk cId="58855581" sldId="267"/>
            <ac:cxnSpMk id="174" creationId="{403F4C84-CA72-4A25-AEE9-4BADEBD5541B}"/>
          </ac:cxnSpMkLst>
        </pc:cxnChg>
        <pc:cxnChg chg="mod">
          <ac:chgData name="Ettore Minelli" userId="7870a1ad-01cf-4239-8cce-750deae7f4ef" providerId="ADAL" clId="{0FDC7236-0C66-43F6-99AF-1100E6B9ED67}" dt="2022-10-27T14:54:23.753" v="4352" actId="478"/>
          <ac:cxnSpMkLst>
            <pc:docMk/>
            <pc:sldMk cId="58855581" sldId="267"/>
            <ac:cxnSpMk id="175" creationId="{76A5496D-E5FA-455D-A783-5ED8665CA3E6}"/>
          </ac:cxnSpMkLst>
        </pc:cxnChg>
        <pc:cxnChg chg="mod">
          <ac:chgData name="Ettore Minelli" userId="7870a1ad-01cf-4239-8cce-750deae7f4ef" providerId="ADAL" clId="{0FDC7236-0C66-43F6-99AF-1100E6B9ED67}" dt="2022-10-27T14:54:23.753" v="4352" actId="478"/>
          <ac:cxnSpMkLst>
            <pc:docMk/>
            <pc:sldMk cId="58855581" sldId="267"/>
            <ac:cxnSpMk id="176" creationId="{323805CD-51FA-448D-8867-821F95FDB726}"/>
          </ac:cxnSpMkLst>
        </pc:cxnChg>
        <pc:cxnChg chg="mod">
          <ac:chgData name="Ettore Minelli" userId="7870a1ad-01cf-4239-8cce-750deae7f4ef" providerId="ADAL" clId="{0FDC7236-0C66-43F6-99AF-1100E6B9ED67}" dt="2022-10-27T14:54:23.753" v="4352" actId="478"/>
          <ac:cxnSpMkLst>
            <pc:docMk/>
            <pc:sldMk cId="58855581" sldId="267"/>
            <ac:cxnSpMk id="177" creationId="{B4FD7F37-9AE0-4F9B-B550-C8A7C677E842}"/>
          </ac:cxnSpMkLst>
        </pc:cxnChg>
        <pc:cxnChg chg="add mod topLvl">
          <ac:chgData name="Ettore Minelli" userId="7870a1ad-01cf-4239-8cce-750deae7f4ef" providerId="ADAL" clId="{0FDC7236-0C66-43F6-99AF-1100E6B9ED67}" dt="2022-10-27T15:44:08.995" v="4692" actId="165"/>
          <ac:cxnSpMkLst>
            <pc:docMk/>
            <pc:sldMk cId="58855581" sldId="267"/>
            <ac:cxnSpMk id="198" creationId="{1919FC39-BE42-4A0E-ABB3-6C853E9B98F8}"/>
          </ac:cxnSpMkLst>
        </pc:cxnChg>
        <pc:cxnChg chg="add mod topLvl">
          <ac:chgData name="Ettore Minelli" userId="7870a1ad-01cf-4239-8cce-750deae7f4ef" providerId="ADAL" clId="{0FDC7236-0C66-43F6-99AF-1100E6B9ED67}" dt="2022-10-27T15:44:08.995" v="4692" actId="165"/>
          <ac:cxnSpMkLst>
            <pc:docMk/>
            <pc:sldMk cId="58855581" sldId="267"/>
            <ac:cxnSpMk id="200" creationId="{4CB7AF62-919F-4609-800A-698B73085370}"/>
          </ac:cxnSpMkLst>
        </pc:cxnChg>
        <pc:cxnChg chg="add del mod">
          <ac:chgData name="Ettore Minelli" userId="7870a1ad-01cf-4239-8cce-750deae7f4ef" providerId="ADAL" clId="{0FDC7236-0C66-43F6-99AF-1100E6B9ED67}" dt="2022-10-27T14:58:35.836" v="4397" actId="478"/>
          <ac:cxnSpMkLst>
            <pc:docMk/>
            <pc:sldMk cId="58855581" sldId="267"/>
            <ac:cxnSpMk id="202" creationId="{0B717C3C-EFDE-4B09-AD52-A58A994AE7C0}"/>
          </ac:cxnSpMkLst>
        </pc:cxnChg>
        <pc:cxnChg chg="add mod topLvl">
          <ac:chgData name="Ettore Minelli" userId="7870a1ad-01cf-4239-8cce-750deae7f4ef" providerId="ADAL" clId="{0FDC7236-0C66-43F6-99AF-1100E6B9ED67}" dt="2022-10-27T15:44:08.995" v="4692" actId="165"/>
          <ac:cxnSpMkLst>
            <pc:docMk/>
            <pc:sldMk cId="58855581" sldId="267"/>
            <ac:cxnSpMk id="203" creationId="{30F96B8B-152F-479D-97F8-46F55EBDA39A}"/>
          </ac:cxnSpMkLst>
        </pc:cxnChg>
        <pc:cxnChg chg="add mod topLvl">
          <ac:chgData name="Ettore Minelli" userId="7870a1ad-01cf-4239-8cce-750deae7f4ef" providerId="ADAL" clId="{0FDC7236-0C66-43F6-99AF-1100E6B9ED67}" dt="2022-10-27T15:44:08.995" v="4692" actId="165"/>
          <ac:cxnSpMkLst>
            <pc:docMk/>
            <pc:sldMk cId="58855581" sldId="267"/>
            <ac:cxnSpMk id="204" creationId="{FC6B349F-70F0-4F8D-968E-ED9D8B95A436}"/>
          </ac:cxnSpMkLst>
        </pc:cxnChg>
      </pc:sldChg>
      <pc:sldChg chg="addSp delSp modSp new mod">
        <pc:chgData name="Ettore Minelli" userId="7870a1ad-01cf-4239-8cce-750deae7f4ef" providerId="ADAL" clId="{0FDC7236-0C66-43F6-99AF-1100E6B9ED67}" dt="2022-10-27T15:56:50.055" v="4961" actId="164"/>
        <pc:sldMkLst>
          <pc:docMk/>
          <pc:sldMk cId="2105422220" sldId="268"/>
        </pc:sldMkLst>
        <pc:spChg chg="add mod">
          <ac:chgData name="Ettore Minelli" userId="7870a1ad-01cf-4239-8cce-750deae7f4ef" providerId="ADAL" clId="{0FDC7236-0C66-43F6-99AF-1100E6B9ED67}" dt="2022-10-27T15:56:40.439" v="4960" actId="208"/>
          <ac:spMkLst>
            <pc:docMk/>
            <pc:sldMk cId="2105422220" sldId="268"/>
            <ac:spMk id="2" creationId="{2496CE38-4542-414D-89EF-38B1A4FF3ABD}"/>
          </ac:spMkLst>
        </pc:spChg>
        <pc:spChg chg="add mod">
          <ac:chgData name="Ettore Minelli" userId="7870a1ad-01cf-4239-8cce-750deae7f4ef" providerId="ADAL" clId="{0FDC7236-0C66-43F6-99AF-1100E6B9ED67}" dt="2022-10-27T15:56:40.439" v="4960" actId="208"/>
          <ac:spMkLst>
            <pc:docMk/>
            <pc:sldMk cId="2105422220" sldId="268"/>
            <ac:spMk id="3" creationId="{F4E12A71-4EA1-4FD8-861F-069593170159}"/>
          </ac:spMkLst>
        </pc:spChg>
        <pc:spChg chg="add del mod ord">
          <ac:chgData name="Ettore Minelli" userId="7870a1ad-01cf-4239-8cce-750deae7f4ef" providerId="ADAL" clId="{0FDC7236-0C66-43F6-99AF-1100E6B9ED67}" dt="2022-10-27T15:44:34.794" v="4701" actId="478"/>
          <ac:spMkLst>
            <pc:docMk/>
            <pc:sldMk cId="2105422220" sldId="268"/>
            <ac:spMk id="5" creationId="{056E59AB-4D0B-48E7-89EA-43D2FC2CB205}"/>
          </ac:spMkLst>
        </pc:spChg>
        <pc:spChg chg="add mod ord">
          <ac:chgData name="Ettore Minelli" userId="7870a1ad-01cf-4239-8cce-750deae7f4ef" providerId="ADAL" clId="{0FDC7236-0C66-43F6-99AF-1100E6B9ED67}" dt="2022-10-27T15:47:26.288" v="4753" actId="164"/>
          <ac:spMkLst>
            <pc:docMk/>
            <pc:sldMk cId="2105422220" sldId="268"/>
            <ac:spMk id="6" creationId="{1E37AE78-893F-4231-8498-614EB5126E7E}"/>
          </ac:spMkLst>
        </pc:spChg>
        <pc:spChg chg="mod">
          <ac:chgData name="Ettore Minelli" userId="7870a1ad-01cf-4239-8cce-750deae7f4ef" providerId="ADAL" clId="{0FDC7236-0C66-43F6-99AF-1100E6B9ED67}" dt="2022-10-27T15:44:13.578" v="4693"/>
          <ac:spMkLst>
            <pc:docMk/>
            <pc:sldMk cId="2105422220" sldId="268"/>
            <ac:spMk id="8" creationId="{51028DE0-57C9-46B7-9CCB-0ED39E8A32FE}"/>
          </ac:spMkLst>
        </pc:spChg>
        <pc:spChg chg="del mod">
          <ac:chgData name="Ettore Minelli" userId="7870a1ad-01cf-4239-8cce-750deae7f4ef" providerId="ADAL" clId="{0FDC7236-0C66-43F6-99AF-1100E6B9ED67}" dt="2022-10-27T15:44:37.769" v="4702" actId="478"/>
          <ac:spMkLst>
            <pc:docMk/>
            <pc:sldMk cId="2105422220" sldId="268"/>
            <ac:spMk id="13" creationId="{CAF650EA-2EC0-4D4C-A7B0-79A22D894960}"/>
          </ac:spMkLst>
        </pc:spChg>
        <pc:spChg chg="add mod">
          <ac:chgData name="Ettore Minelli" userId="7870a1ad-01cf-4239-8cce-750deae7f4ef" providerId="ADAL" clId="{0FDC7236-0C66-43F6-99AF-1100E6B9ED67}" dt="2022-10-27T15:56:50.055" v="4961" actId="164"/>
          <ac:spMkLst>
            <pc:docMk/>
            <pc:sldMk cId="2105422220" sldId="268"/>
            <ac:spMk id="18" creationId="{70C617A7-3F02-4395-BD07-F956CD1B6CB2}"/>
          </ac:spMkLst>
        </pc:spChg>
        <pc:spChg chg="mod topLvl">
          <ac:chgData name="Ettore Minelli" userId="7870a1ad-01cf-4239-8cce-750deae7f4ef" providerId="ADAL" clId="{0FDC7236-0C66-43F6-99AF-1100E6B9ED67}" dt="2022-10-27T15:56:50.055" v="4961" actId="164"/>
          <ac:spMkLst>
            <pc:docMk/>
            <pc:sldMk cId="2105422220" sldId="268"/>
            <ac:spMk id="22" creationId="{07A259D2-4728-4C1A-82F5-7F234F6D1D79}"/>
          </ac:spMkLst>
        </pc:spChg>
        <pc:spChg chg="mod topLvl">
          <ac:chgData name="Ettore Minelli" userId="7870a1ad-01cf-4239-8cce-750deae7f4ef" providerId="ADAL" clId="{0FDC7236-0C66-43F6-99AF-1100E6B9ED67}" dt="2022-10-27T15:56:50.055" v="4961" actId="164"/>
          <ac:spMkLst>
            <pc:docMk/>
            <pc:sldMk cId="2105422220" sldId="268"/>
            <ac:spMk id="23" creationId="{A7760BC9-F5A9-491D-BB64-F4485E3C8F66}"/>
          </ac:spMkLst>
        </pc:spChg>
        <pc:spChg chg="add mod">
          <ac:chgData name="Ettore Minelli" userId="7870a1ad-01cf-4239-8cce-750deae7f4ef" providerId="ADAL" clId="{0FDC7236-0C66-43F6-99AF-1100E6B9ED67}" dt="2022-10-27T15:56:50.055" v="4961" actId="164"/>
          <ac:spMkLst>
            <pc:docMk/>
            <pc:sldMk cId="2105422220" sldId="268"/>
            <ac:spMk id="31" creationId="{79347C31-1FF7-4ABB-A707-7FF757411508}"/>
          </ac:spMkLst>
        </pc:spChg>
        <pc:spChg chg="add del mod">
          <ac:chgData name="Ettore Minelli" userId="7870a1ad-01cf-4239-8cce-750deae7f4ef" providerId="ADAL" clId="{0FDC7236-0C66-43F6-99AF-1100E6B9ED67}" dt="2022-10-27T15:53:01.745" v="4863"/>
          <ac:spMkLst>
            <pc:docMk/>
            <pc:sldMk cId="2105422220" sldId="268"/>
            <ac:spMk id="32" creationId="{8904DDC0-CCB1-4240-83CC-D235A1DDCD4F}"/>
          </ac:spMkLst>
        </pc:spChg>
        <pc:spChg chg="add del mod">
          <ac:chgData name="Ettore Minelli" userId="7870a1ad-01cf-4239-8cce-750deae7f4ef" providerId="ADAL" clId="{0FDC7236-0C66-43F6-99AF-1100E6B9ED67}" dt="2022-10-27T15:53:00.831" v="4861"/>
          <ac:spMkLst>
            <pc:docMk/>
            <pc:sldMk cId="2105422220" sldId="268"/>
            <ac:spMk id="33" creationId="{B96F393F-D848-475E-B4F9-86BFFD201A8E}"/>
          </ac:spMkLst>
        </pc:spChg>
        <pc:spChg chg="add mod">
          <ac:chgData name="Ettore Minelli" userId="7870a1ad-01cf-4239-8cce-750deae7f4ef" providerId="ADAL" clId="{0FDC7236-0C66-43F6-99AF-1100E6B9ED67}" dt="2022-10-27T15:56:50.055" v="4961" actId="164"/>
          <ac:spMkLst>
            <pc:docMk/>
            <pc:sldMk cId="2105422220" sldId="268"/>
            <ac:spMk id="34" creationId="{06037545-D812-42DB-8FB1-B474890A4F48}"/>
          </ac:spMkLst>
        </pc:spChg>
        <pc:spChg chg="add mod">
          <ac:chgData name="Ettore Minelli" userId="7870a1ad-01cf-4239-8cce-750deae7f4ef" providerId="ADAL" clId="{0FDC7236-0C66-43F6-99AF-1100E6B9ED67}" dt="2022-10-27T15:56:50.055" v="4961" actId="164"/>
          <ac:spMkLst>
            <pc:docMk/>
            <pc:sldMk cId="2105422220" sldId="268"/>
            <ac:spMk id="35" creationId="{D8C949D1-C04D-42A9-8CA6-B1D495480655}"/>
          </ac:spMkLst>
        </pc:spChg>
        <pc:spChg chg="add mod">
          <ac:chgData name="Ettore Minelli" userId="7870a1ad-01cf-4239-8cce-750deae7f4ef" providerId="ADAL" clId="{0FDC7236-0C66-43F6-99AF-1100E6B9ED67}" dt="2022-10-27T15:56:50.055" v="4961" actId="164"/>
          <ac:spMkLst>
            <pc:docMk/>
            <pc:sldMk cId="2105422220" sldId="268"/>
            <ac:spMk id="36" creationId="{C25ED49C-F890-4FF6-BF36-F41A7C0085B2}"/>
          </ac:spMkLst>
        </pc:spChg>
        <pc:spChg chg="add mod">
          <ac:chgData name="Ettore Minelli" userId="7870a1ad-01cf-4239-8cce-750deae7f4ef" providerId="ADAL" clId="{0FDC7236-0C66-43F6-99AF-1100E6B9ED67}" dt="2022-10-27T15:56:50.055" v="4961" actId="164"/>
          <ac:spMkLst>
            <pc:docMk/>
            <pc:sldMk cId="2105422220" sldId="268"/>
            <ac:spMk id="37" creationId="{7E1ACAB3-3DF0-4DCC-B048-DE7EF86125D2}"/>
          </ac:spMkLst>
        </pc:spChg>
        <pc:spChg chg="add mod">
          <ac:chgData name="Ettore Minelli" userId="7870a1ad-01cf-4239-8cce-750deae7f4ef" providerId="ADAL" clId="{0FDC7236-0C66-43F6-99AF-1100E6B9ED67}" dt="2022-10-27T15:56:50.055" v="4961" actId="164"/>
          <ac:spMkLst>
            <pc:docMk/>
            <pc:sldMk cId="2105422220" sldId="268"/>
            <ac:spMk id="38" creationId="{240BC8F7-268F-4C8B-AA1E-8DF61D8E77FA}"/>
          </ac:spMkLst>
        </pc:spChg>
        <pc:spChg chg="add mod">
          <ac:chgData name="Ettore Minelli" userId="7870a1ad-01cf-4239-8cce-750deae7f4ef" providerId="ADAL" clId="{0FDC7236-0C66-43F6-99AF-1100E6B9ED67}" dt="2022-10-27T15:56:50.055" v="4961" actId="164"/>
          <ac:spMkLst>
            <pc:docMk/>
            <pc:sldMk cId="2105422220" sldId="268"/>
            <ac:spMk id="39" creationId="{891340FB-DB4E-459B-9E7C-6ADE1AF5FCB0}"/>
          </ac:spMkLst>
        </pc:spChg>
        <pc:spChg chg="add mod">
          <ac:chgData name="Ettore Minelli" userId="7870a1ad-01cf-4239-8cce-750deae7f4ef" providerId="ADAL" clId="{0FDC7236-0C66-43F6-99AF-1100E6B9ED67}" dt="2022-10-27T15:56:50.055" v="4961" actId="164"/>
          <ac:spMkLst>
            <pc:docMk/>
            <pc:sldMk cId="2105422220" sldId="268"/>
            <ac:spMk id="45" creationId="{E5F88262-7DFE-4CDC-AA47-21AAB273ABDD}"/>
          </ac:spMkLst>
        </pc:spChg>
        <pc:spChg chg="add mod">
          <ac:chgData name="Ettore Minelli" userId="7870a1ad-01cf-4239-8cce-750deae7f4ef" providerId="ADAL" clId="{0FDC7236-0C66-43F6-99AF-1100E6B9ED67}" dt="2022-10-27T15:56:50.055" v="4961" actId="164"/>
          <ac:spMkLst>
            <pc:docMk/>
            <pc:sldMk cId="2105422220" sldId="268"/>
            <ac:spMk id="46" creationId="{9F526EAC-0ED6-443F-8668-339CA545D590}"/>
          </ac:spMkLst>
        </pc:spChg>
        <pc:spChg chg="add mod">
          <ac:chgData name="Ettore Minelli" userId="7870a1ad-01cf-4239-8cce-750deae7f4ef" providerId="ADAL" clId="{0FDC7236-0C66-43F6-99AF-1100E6B9ED67}" dt="2022-10-27T15:56:50.055" v="4961" actId="164"/>
          <ac:spMkLst>
            <pc:docMk/>
            <pc:sldMk cId="2105422220" sldId="268"/>
            <ac:spMk id="47" creationId="{6521E0C8-EF25-4205-9710-37E891772CAB}"/>
          </ac:spMkLst>
        </pc:spChg>
        <pc:grpChg chg="add mod">
          <ac:chgData name="Ettore Minelli" userId="7870a1ad-01cf-4239-8cce-750deae7f4ef" providerId="ADAL" clId="{0FDC7236-0C66-43F6-99AF-1100E6B9ED67}" dt="2022-10-27T15:56:50.055" v="4961" actId="164"/>
          <ac:grpSpMkLst>
            <pc:docMk/>
            <pc:sldMk cId="2105422220" sldId="268"/>
            <ac:grpSpMk id="4" creationId="{48CEB3BB-FBCD-4392-9F7B-05713EF66057}"/>
          </ac:grpSpMkLst>
        </pc:grpChg>
        <pc:grpChg chg="add mod">
          <ac:chgData name="Ettore Minelli" userId="7870a1ad-01cf-4239-8cce-750deae7f4ef" providerId="ADAL" clId="{0FDC7236-0C66-43F6-99AF-1100E6B9ED67}" dt="2022-10-27T15:47:26.288" v="4753" actId="164"/>
          <ac:grpSpMkLst>
            <pc:docMk/>
            <pc:sldMk cId="2105422220" sldId="268"/>
            <ac:grpSpMk id="7" creationId="{B66E6C1B-74EE-4123-8DD5-5B979F42CAF2}"/>
          </ac:grpSpMkLst>
        </pc:grpChg>
        <pc:grpChg chg="add mod">
          <ac:chgData name="Ettore Minelli" userId="7870a1ad-01cf-4239-8cce-750deae7f4ef" providerId="ADAL" clId="{0FDC7236-0C66-43F6-99AF-1100E6B9ED67}" dt="2022-10-27T15:56:50.055" v="4961" actId="164"/>
          <ac:grpSpMkLst>
            <pc:docMk/>
            <pc:sldMk cId="2105422220" sldId="268"/>
            <ac:grpSpMk id="19" creationId="{B2BD4391-FDC5-4E9F-8826-C01396418939}"/>
          </ac:grpSpMkLst>
        </pc:grpChg>
        <pc:grpChg chg="add del mod">
          <ac:chgData name="Ettore Minelli" userId="7870a1ad-01cf-4239-8cce-750deae7f4ef" providerId="ADAL" clId="{0FDC7236-0C66-43F6-99AF-1100E6B9ED67}" dt="2022-10-27T15:48:35.419" v="4831" actId="165"/>
          <ac:grpSpMkLst>
            <pc:docMk/>
            <pc:sldMk cId="2105422220" sldId="268"/>
            <ac:grpSpMk id="20" creationId="{71837698-85BF-4C73-AD4F-3F04C174436A}"/>
          </ac:grpSpMkLst>
        </pc:grpChg>
        <pc:grpChg chg="del mod topLvl">
          <ac:chgData name="Ettore Minelli" userId="7870a1ad-01cf-4239-8cce-750deae7f4ef" providerId="ADAL" clId="{0FDC7236-0C66-43F6-99AF-1100E6B9ED67}" dt="2022-10-27T15:48:45.728" v="4832" actId="165"/>
          <ac:grpSpMkLst>
            <pc:docMk/>
            <pc:sldMk cId="2105422220" sldId="268"/>
            <ac:grpSpMk id="21" creationId="{50E00BE6-8D99-424A-909B-07D2E003D042}"/>
          </ac:grpSpMkLst>
        </pc:grpChg>
        <pc:grpChg chg="add mod">
          <ac:chgData name="Ettore Minelli" userId="7870a1ad-01cf-4239-8cce-750deae7f4ef" providerId="ADAL" clId="{0FDC7236-0C66-43F6-99AF-1100E6B9ED67}" dt="2022-10-27T15:56:50.055" v="4961" actId="164"/>
          <ac:grpSpMkLst>
            <pc:docMk/>
            <pc:sldMk cId="2105422220" sldId="268"/>
            <ac:grpSpMk id="48" creationId="{57165846-9901-48C6-A6FB-94BC5EBD1192}"/>
          </ac:grpSpMkLst>
        </pc:grpChg>
        <pc:picChg chg="mod">
          <ac:chgData name="Ettore Minelli" userId="7870a1ad-01cf-4239-8cce-750deae7f4ef" providerId="ADAL" clId="{0FDC7236-0C66-43F6-99AF-1100E6B9ED67}" dt="2022-10-27T15:50:28.533" v="4843" actId="1076"/>
          <ac:picMkLst>
            <pc:docMk/>
            <pc:sldMk cId="2105422220" sldId="268"/>
            <ac:picMk id="9" creationId="{78908456-B11F-484E-9FDB-A19E62548259}"/>
          </ac:picMkLst>
        </pc:picChg>
        <pc:picChg chg="mod">
          <ac:chgData name="Ettore Minelli" userId="7870a1ad-01cf-4239-8cce-750deae7f4ef" providerId="ADAL" clId="{0FDC7236-0C66-43F6-99AF-1100E6B9ED67}" dt="2022-10-27T15:50:28.533" v="4843" actId="1076"/>
          <ac:picMkLst>
            <pc:docMk/>
            <pc:sldMk cId="2105422220" sldId="268"/>
            <ac:picMk id="10" creationId="{BD1BB05C-C772-433D-BD44-5CB149C394D0}"/>
          </ac:picMkLst>
        </pc:picChg>
        <pc:picChg chg="mod">
          <ac:chgData name="Ettore Minelli" userId="7870a1ad-01cf-4239-8cce-750deae7f4ef" providerId="ADAL" clId="{0FDC7236-0C66-43F6-99AF-1100E6B9ED67}" dt="2022-10-27T15:50:28.533" v="4843" actId="1076"/>
          <ac:picMkLst>
            <pc:docMk/>
            <pc:sldMk cId="2105422220" sldId="268"/>
            <ac:picMk id="11" creationId="{C5CF458E-0276-4E63-82B7-7068546550E2}"/>
          </ac:picMkLst>
        </pc:picChg>
        <pc:picChg chg="mod">
          <ac:chgData name="Ettore Minelli" userId="7870a1ad-01cf-4239-8cce-750deae7f4ef" providerId="ADAL" clId="{0FDC7236-0C66-43F6-99AF-1100E6B9ED67}" dt="2022-10-27T15:50:28.533" v="4843" actId="1076"/>
          <ac:picMkLst>
            <pc:docMk/>
            <pc:sldMk cId="2105422220" sldId="268"/>
            <ac:picMk id="12" creationId="{B720A653-6AEA-49D6-9A21-84CF2D03AAC6}"/>
          </ac:picMkLst>
        </pc:picChg>
        <pc:picChg chg="add mod">
          <ac:chgData name="Ettore Minelli" userId="7870a1ad-01cf-4239-8cce-750deae7f4ef" providerId="ADAL" clId="{0FDC7236-0C66-43F6-99AF-1100E6B9ED67}" dt="2022-10-27T15:56:50.055" v="4961" actId="164"/>
          <ac:picMkLst>
            <pc:docMk/>
            <pc:sldMk cId="2105422220" sldId="268"/>
            <ac:picMk id="17" creationId="{75C70BDD-3E5D-4FFD-A512-09D7CE74E049}"/>
          </ac:picMkLst>
        </pc:picChg>
        <pc:picChg chg="del mod topLvl">
          <ac:chgData name="Ettore Minelli" userId="7870a1ad-01cf-4239-8cce-750deae7f4ef" providerId="ADAL" clId="{0FDC7236-0C66-43F6-99AF-1100E6B9ED67}" dt="2022-10-27T15:48:47.269" v="4833" actId="478"/>
          <ac:picMkLst>
            <pc:docMk/>
            <pc:sldMk cId="2105422220" sldId="268"/>
            <ac:picMk id="24" creationId="{09DD08FC-F08A-4A00-895D-376CB2BAE0FA}"/>
          </ac:picMkLst>
        </pc:picChg>
        <pc:picChg chg="del mod topLvl">
          <ac:chgData name="Ettore Minelli" userId="7870a1ad-01cf-4239-8cce-750deae7f4ef" providerId="ADAL" clId="{0FDC7236-0C66-43F6-99AF-1100E6B9ED67}" dt="2022-10-27T15:48:47.869" v="4834" actId="478"/>
          <ac:picMkLst>
            <pc:docMk/>
            <pc:sldMk cId="2105422220" sldId="268"/>
            <ac:picMk id="25" creationId="{8085F443-3310-47E7-818D-E3FFBBAC96AB}"/>
          </ac:picMkLst>
        </pc:picChg>
        <pc:picChg chg="del mod topLvl">
          <ac:chgData name="Ettore Minelli" userId="7870a1ad-01cf-4239-8cce-750deae7f4ef" providerId="ADAL" clId="{0FDC7236-0C66-43F6-99AF-1100E6B9ED67}" dt="2022-10-27T15:48:49.053" v="4836" actId="478"/>
          <ac:picMkLst>
            <pc:docMk/>
            <pc:sldMk cId="2105422220" sldId="268"/>
            <ac:picMk id="26" creationId="{82F0ED53-7EAF-48DB-8E5D-C426E35B7D1D}"/>
          </ac:picMkLst>
        </pc:picChg>
        <pc:picChg chg="del mod topLvl">
          <ac:chgData name="Ettore Minelli" userId="7870a1ad-01cf-4239-8cce-750deae7f4ef" providerId="ADAL" clId="{0FDC7236-0C66-43F6-99AF-1100E6B9ED67}" dt="2022-10-27T15:48:48.486" v="4835" actId="478"/>
          <ac:picMkLst>
            <pc:docMk/>
            <pc:sldMk cId="2105422220" sldId="268"/>
            <ac:picMk id="27" creationId="{8112D886-DB55-49CA-A9B0-6F53DFAB526B}"/>
          </ac:picMkLst>
        </pc:picChg>
        <pc:picChg chg="add mod">
          <ac:chgData name="Ettore Minelli" userId="7870a1ad-01cf-4239-8cce-750deae7f4ef" providerId="ADAL" clId="{0FDC7236-0C66-43F6-99AF-1100E6B9ED67}" dt="2022-10-27T15:56:50.055" v="4961" actId="164"/>
          <ac:picMkLst>
            <pc:docMk/>
            <pc:sldMk cId="2105422220" sldId="268"/>
            <ac:picMk id="41" creationId="{D8039259-90B9-4FFD-BB5E-54D91E33FED7}"/>
          </ac:picMkLst>
        </pc:picChg>
        <pc:cxnChg chg="add mod">
          <ac:chgData name="Ettore Minelli" userId="7870a1ad-01cf-4239-8cce-750deae7f4ef" providerId="ADAL" clId="{0FDC7236-0C66-43F6-99AF-1100E6B9ED67}" dt="2022-10-27T15:56:50.055" v="4961" actId="164"/>
          <ac:cxnSpMkLst>
            <pc:docMk/>
            <pc:sldMk cId="2105422220" sldId="268"/>
            <ac:cxnSpMk id="15" creationId="{C71E3BC8-A0F9-4426-82B3-6921EA56F1DC}"/>
          </ac:cxnSpMkLst>
        </pc:cxnChg>
        <pc:cxnChg chg="add mod">
          <ac:chgData name="Ettore Minelli" userId="7870a1ad-01cf-4239-8cce-750deae7f4ef" providerId="ADAL" clId="{0FDC7236-0C66-43F6-99AF-1100E6B9ED67}" dt="2022-10-27T15:56:50.055" v="4961" actId="164"/>
          <ac:cxnSpMkLst>
            <pc:docMk/>
            <pc:sldMk cId="2105422220" sldId="268"/>
            <ac:cxnSpMk id="28" creationId="{BE6E600E-4BA2-44C8-960F-8F1F74C2146C}"/>
          </ac:cxnSpMkLst>
        </pc:cxnChg>
        <pc:cxnChg chg="add mod">
          <ac:chgData name="Ettore Minelli" userId="7870a1ad-01cf-4239-8cce-750deae7f4ef" providerId="ADAL" clId="{0FDC7236-0C66-43F6-99AF-1100E6B9ED67}" dt="2022-10-27T15:56:50.055" v="4961" actId="164"/>
          <ac:cxnSpMkLst>
            <pc:docMk/>
            <pc:sldMk cId="2105422220" sldId="268"/>
            <ac:cxnSpMk id="43" creationId="{DD84912A-5072-4805-91E6-5708867C53D2}"/>
          </ac:cxnSpMkLst>
        </pc:cxnChg>
      </pc:sldChg>
      <pc:sldChg chg="addSp delSp modSp new add mod">
        <pc:chgData name="Ettore Minelli" userId="7870a1ad-01cf-4239-8cce-750deae7f4ef" providerId="ADAL" clId="{0FDC7236-0C66-43F6-99AF-1100E6B9ED67}" dt="2022-10-28T13:50:00.700" v="5587" actId="14100"/>
        <pc:sldMkLst>
          <pc:docMk/>
          <pc:sldMk cId="648970862" sldId="269"/>
        </pc:sldMkLst>
        <pc:spChg chg="add mod">
          <ac:chgData name="Ettore Minelli" userId="7870a1ad-01cf-4239-8cce-750deae7f4ef" providerId="ADAL" clId="{0FDC7236-0C66-43F6-99AF-1100E6B9ED67}" dt="2022-10-28T13:49:29.863" v="5575" actId="2711"/>
          <ac:spMkLst>
            <pc:docMk/>
            <pc:sldMk cId="648970862" sldId="269"/>
            <ac:spMk id="2" creationId="{ACFCDD50-F0CD-4523-ADFF-B60396D05C7F}"/>
          </ac:spMkLst>
        </pc:spChg>
        <pc:spChg chg="add mod">
          <ac:chgData name="Ettore Minelli" userId="7870a1ad-01cf-4239-8cce-750deae7f4ef" providerId="ADAL" clId="{0FDC7236-0C66-43F6-99AF-1100E6B9ED67}" dt="2022-10-28T13:49:29.863" v="5575" actId="2711"/>
          <ac:spMkLst>
            <pc:docMk/>
            <pc:sldMk cId="648970862" sldId="269"/>
            <ac:spMk id="4" creationId="{C8002855-C854-4D2F-89EC-A4ECBF667D7B}"/>
          </ac:spMkLst>
        </pc:spChg>
        <pc:spChg chg="add mod">
          <ac:chgData name="Ettore Minelli" userId="7870a1ad-01cf-4239-8cce-750deae7f4ef" providerId="ADAL" clId="{0FDC7236-0C66-43F6-99AF-1100E6B9ED67}" dt="2022-10-28T13:49:29.863" v="5575" actId="2711"/>
          <ac:spMkLst>
            <pc:docMk/>
            <pc:sldMk cId="648970862" sldId="269"/>
            <ac:spMk id="5" creationId="{78268228-FF45-4D3F-917C-AAACDCF7D25A}"/>
          </ac:spMkLst>
        </pc:spChg>
        <pc:spChg chg="add mod">
          <ac:chgData name="Ettore Minelli" userId="7870a1ad-01cf-4239-8cce-750deae7f4ef" providerId="ADAL" clId="{0FDC7236-0C66-43F6-99AF-1100E6B9ED67}" dt="2022-10-28T13:49:29.863" v="5575" actId="2711"/>
          <ac:spMkLst>
            <pc:docMk/>
            <pc:sldMk cId="648970862" sldId="269"/>
            <ac:spMk id="17" creationId="{8970CC48-78EA-471C-9AE0-A35F305DF114}"/>
          </ac:spMkLst>
        </pc:spChg>
        <pc:spChg chg="add mod">
          <ac:chgData name="Ettore Minelli" userId="7870a1ad-01cf-4239-8cce-750deae7f4ef" providerId="ADAL" clId="{0FDC7236-0C66-43F6-99AF-1100E6B9ED67}" dt="2022-10-28T13:49:29.863" v="5575" actId="2711"/>
          <ac:spMkLst>
            <pc:docMk/>
            <pc:sldMk cId="648970862" sldId="269"/>
            <ac:spMk id="18" creationId="{DC1B5504-A2A7-449E-AF3B-75380E99055D}"/>
          </ac:spMkLst>
        </pc:spChg>
        <pc:spChg chg="add mod">
          <ac:chgData name="Ettore Minelli" userId="7870a1ad-01cf-4239-8cce-750deae7f4ef" providerId="ADAL" clId="{0FDC7236-0C66-43F6-99AF-1100E6B9ED67}" dt="2022-10-28T13:50:00.700" v="5587" actId="14100"/>
          <ac:spMkLst>
            <pc:docMk/>
            <pc:sldMk cId="648970862" sldId="269"/>
            <ac:spMk id="19" creationId="{F68A8E9B-A461-439B-B8FB-24F81CFD4991}"/>
          </ac:spMkLst>
        </pc:spChg>
        <pc:grpChg chg="add mod">
          <ac:chgData name="Ettore Minelli" userId="7870a1ad-01cf-4239-8cce-750deae7f4ef" providerId="ADAL" clId="{0FDC7236-0C66-43F6-99AF-1100E6B9ED67}" dt="2022-10-28T13:48:37.278" v="5565" actId="14100"/>
          <ac:grpSpMkLst>
            <pc:docMk/>
            <pc:sldMk cId="648970862" sldId="269"/>
            <ac:grpSpMk id="20" creationId="{5B250C2D-A280-400E-A89B-262E99440673}"/>
          </ac:grpSpMkLst>
        </pc:grpChg>
        <pc:picChg chg="add mod">
          <ac:chgData name="Ettore Minelli" userId="7870a1ad-01cf-4239-8cce-750deae7f4ef" providerId="ADAL" clId="{0FDC7236-0C66-43F6-99AF-1100E6B9ED67}" dt="2022-10-28T13:48:22.428" v="5563" actId="164"/>
          <ac:picMkLst>
            <pc:docMk/>
            <pc:sldMk cId="648970862" sldId="269"/>
            <ac:picMk id="3" creationId="{8666099A-ACC3-4DCB-A800-B7B61AA5ABD6}"/>
          </ac:picMkLst>
        </pc:picChg>
        <pc:cxnChg chg="add mod">
          <ac:chgData name="Ettore Minelli" userId="7870a1ad-01cf-4239-8cce-750deae7f4ef" providerId="ADAL" clId="{0FDC7236-0C66-43F6-99AF-1100E6B9ED67}" dt="2022-10-28T13:48:22.428" v="5563" actId="164"/>
          <ac:cxnSpMkLst>
            <pc:docMk/>
            <pc:sldMk cId="648970862" sldId="269"/>
            <ac:cxnSpMk id="7" creationId="{563BB597-DB39-4109-818E-058AEA5EA13F}"/>
          </ac:cxnSpMkLst>
        </pc:cxnChg>
        <pc:cxnChg chg="add del mod">
          <ac:chgData name="Ettore Minelli" userId="7870a1ad-01cf-4239-8cce-750deae7f4ef" providerId="ADAL" clId="{0FDC7236-0C66-43F6-99AF-1100E6B9ED67}" dt="2022-10-28T13:41:11.583" v="5001" actId="11529"/>
          <ac:cxnSpMkLst>
            <pc:docMk/>
            <pc:sldMk cId="648970862" sldId="269"/>
            <ac:cxnSpMk id="9" creationId="{3948C565-6E2F-47CD-AC6A-78ECDB5275CA}"/>
          </ac:cxnSpMkLst>
        </pc:cxnChg>
        <pc:cxnChg chg="add mod">
          <ac:chgData name="Ettore Minelli" userId="7870a1ad-01cf-4239-8cce-750deae7f4ef" providerId="ADAL" clId="{0FDC7236-0C66-43F6-99AF-1100E6B9ED67}" dt="2022-10-28T13:48:22.428" v="5563" actId="164"/>
          <ac:cxnSpMkLst>
            <pc:docMk/>
            <pc:sldMk cId="648970862" sldId="269"/>
            <ac:cxnSpMk id="11" creationId="{FDE3C553-F737-4036-B78A-3D7E8C402B8B}"/>
          </ac:cxnSpMkLst>
        </pc:cxnChg>
        <pc:cxnChg chg="add mod">
          <ac:chgData name="Ettore Minelli" userId="7870a1ad-01cf-4239-8cce-750deae7f4ef" providerId="ADAL" clId="{0FDC7236-0C66-43F6-99AF-1100E6B9ED67}" dt="2022-10-28T13:48:22.428" v="5563" actId="164"/>
          <ac:cxnSpMkLst>
            <pc:docMk/>
            <pc:sldMk cId="648970862" sldId="269"/>
            <ac:cxnSpMk id="13" creationId="{9848C51F-990A-4DBC-9312-AB554161F0D2}"/>
          </ac:cxnSpMkLst>
        </pc:cxnChg>
        <pc:cxnChg chg="add mod">
          <ac:chgData name="Ettore Minelli" userId="7870a1ad-01cf-4239-8cce-750deae7f4ef" providerId="ADAL" clId="{0FDC7236-0C66-43F6-99AF-1100E6B9ED67}" dt="2022-10-28T13:48:22.428" v="5563" actId="164"/>
          <ac:cxnSpMkLst>
            <pc:docMk/>
            <pc:sldMk cId="648970862" sldId="269"/>
            <ac:cxnSpMk id="14" creationId="{27AF307F-50FE-4FBF-AF11-D0E750E0651E}"/>
          </ac:cxnSpMkLst>
        </pc:cxnChg>
      </pc:sldChg>
      <pc:sldChg chg="addSp delSp modSp new add mod">
        <pc:chgData name="Ettore Minelli" userId="7870a1ad-01cf-4239-8cce-750deae7f4ef" providerId="ADAL" clId="{0FDC7236-0C66-43F6-99AF-1100E6B9ED67}" dt="2022-11-01T17:34:12.369" v="5729" actId="164"/>
        <pc:sldMkLst>
          <pc:docMk/>
          <pc:sldMk cId="4105497273" sldId="270"/>
        </pc:sldMkLst>
        <pc:spChg chg="add mod">
          <ac:chgData name="Ettore Minelli" userId="7870a1ad-01cf-4239-8cce-750deae7f4ef" providerId="ADAL" clId="{0FDC7236-0C66-43F6-99AF-1100E6B9ED67}" dt="2022-11-01T17:34:12.369" v="5729" actId="164"/>
          <ac:spMkLst>
            <pc:docMk/>
            <pc:sldMk cId="4105497273" sldId="270"/>
            <ac:spMk id="2" creationId="{A08EACDE-7961-4328-8B8F-202A1C2605A0}"/>
          </ac:spMkLst>
        </pc:spChg>
        <pc:spChg chg="add mod">
          <ac:chgData name="Ettore Minelli" userId="7870a1ad-01cf-4239-8cce-750deae7f4ef" providerId="ADAL" clId="{0FDC7236-0C66-43F6-99AF-1100E6B9ED67}" dt="2022-11-01T17:34:12.369" v="5729" actId="164"/>
          <ac:spMkLst>
            <pc:docMk/>
            <pc:sldMk cId="4105497273" sldId="270"/>
            <ac:spMk id="3" creationId="{704B8706-24EF-4751-A105-3D1C20DD296C}"/>
          </ac:spMkLst>
        </pc:spChg>
        <pc:spChg chg="add del mod">
          <ac:chgData name="Ettore Minelli" userId="7870a1ad-01cf-4239-8cce-750deae7f4ef" providerId="ADAL" clId="{0FDC7236-0C66-43F6-99AF-1100E6B9ED67}" dt="2022-11-01T17:31:18.864" v="5684" actId="478"/>
          <ac:spMkLst>
            <pc:docMk/>
            <pc:sldMk cId="4105497273" sldId="270"/>
            <ac:spMk id="4" creationId="{A41CDA99-36CC-4ED2-A847-8BC34F576A98}"/>
          </ac:spMkLst>
        </pc:spChg>
        <pc:spChg chg="add mod">
          <ac:chgData name="Ettore Minelli" userId="7870a1ad-01cf-4239-8cce-750deae7f4ef" providerId="ADAL" clId="{0FDC7236-0C66-43F6-99AF-1100E6B9ED67}" dt="2022-11-01T17:34:12.369" v="5729" actId="164"/>
          <ac:spMkLst>
            <pc:docMk/>
            <pc:sldMk cId="4105497273" sldId="270"/>
            <ac:spMk id="5" creationId="{E905DC36-184F-48A0-841D-FC643FE32B07}"/>
          </ac:spMkLst>
        </pc:spChg>
        <pc:spChg chg="add mod">
          <ac:chgData name="Ettore Minelli" userId="7870a1ad-01cf-4239-8cce-750deae7f4ef" providerId="ADAL" clId="{0FDC7236-0C66-43F6-99AF-1100E6B9ED67}" dt="2022-11-01T17:34:12.369" v="5729" actId="164"/>
          <ac:spMkLst>
            <pc:docMk/>
            <pc:sldMk cId="4105497273" sldId="270"/>
            <ac:spMk id="6" creationId="{E810FBEC-5D97-4A32-BD79-E4C25923DB99}"/>
          </ac:spMkLst>
        </pc:spChg>
        <pc:grpChg chg="add mod">
          <ac:chgData name="Ettore Minelli" userId="7870a1ad-01cf-4239-8cce-750deae7f4ef" providerId="ADAL" clId="{0FDC7236-0C66-43F6-99AF-1100E6B9ED67}" dt="2022-11-01T17:34:12.369" v="5729" actId="164"/>
          <ac:grpSpMkLst>
            <pc:docMk/>
            <pc:sldMk cId="4105497273" sldId="270"/>
            <ac:grpSpMk id="7" creationId="{84149639-F695-467C-997E-FE3FE102CD4A}"/>
          </ac:grpSpMkLst>
        </pc:grpChg>
      </pc:sldChg>
      <pc:sldChg chg="addSp delSp modSp new add mod">
        <pc:chgData name="Ettore Minelli" userId="7870a1ad-01cf-4239-8cce-750deae7f4ef" providerId="ADAL" clId="{0FDC7236-0C66-43F6-99AF-1100E6B9ED67}" dt="2022-11-02T12:01:41.609" v="6514" actId="164"/>
        <pc:sldMkLst>
          <pc:docMk/>
          <pc:sldMk cId="2564620372" sldId="271"/>
        </pc:sldMkLst>
        <pc:spChg chg="add mod">
          <ac:chgData name="Ettore Minelli" userId="7870a1ad-01cf-4239-8cce-750deae7f4ef" providerId="ADAL" clId="{0FDC7236-0C66-43F6-99AF-1100E6B9ED67}" dt="2022-11-02T11:47:39.452" v="5972" actId="164"/>
          <ac:spMkLst>
            <pc:docMk/>
            <pc:sldMk cId="2564620372" sldId="271"/>
            <ac:spMk id="2" creationId="{5055F3E8-B8BF-4EA5-9BCD-2E9537BEDEBA}"/>
          </ac:spMkLst>
        </pc:spChg>
        <pc:spChg chg="add mod">
          <ac:chgData name="Ettore Minelli" userId="7870a1ad-01cf-4239-8cce-750deae7f4ef" providerId="ADAL" clId="{0FDC7236-0C66-43F6-99AF-1100E6B9ED67}" dt="2022-11-02T11:47:39.452" v="5972" actId="164"/>
          <ac:spMkLst>
            <pc:docMk/>
            <pc:sldMk cId="2564620372" sldId="271"/>
            <ac:spMk id="3" creationId="{561406CF-6A1A-48AC-AC66-0E738714EFF8}"/>
          </ac:spMkLst>
        </pc:spChg>
        <pc:spChg chg="add mod">
          <ac:chgData name="Ettore Minelli" userId="7870a1ad-01cf-4239-8cce-750deae7f4ef" providerId="ADAL" clId="{0FDC7236-0C66-43F6-99AF-1100E6B9ED67}" dt="2022-11-02T11:47:39.452" v="5972" actId="164"/>
          <ac:spMkLst>
            <pc:docMk/>
            <pc:sldMk cId="2564620372" sldId="271"/>
            <ac:spMk id="4" creationId="{25AFC872-609C-44C6-A818-328FE06976AD}"/>
          </ac:spMkLst>
        </pc:spChg>
        <pc:spChg chg="add mod">
          <ac:chgData name="Ettore Minelli" userId="7870a1ad-01cf-4239-8cce-750deae7f4ef" providerId="ADAL" clId="{0FDC7236-0C66-43F6-99AF-1100E6B9ED67}" dt="2022-11-02T11:47:39.452" v="5972" actId="164"/>
          <ac:spMkLst>
            <pc:docMk/>
            <pc:sldMk cId="2564620372" sldId="271"/>
            <ac:spMk id="5" creationId="{1F7CA116-40A2-4E55-B093-B8E1C9FBDAC1}"/>
          </ac:spMkLst>
        </pc:spChg>
        <pc:spChg chg="add mod">
          <ac:chgData name="Ettore Minelli" userId="7870a1ad-01cf-4239-8cce-750deae7f4ef" providerId="ADAL" clId="{0FDC7236-0C66-43F6-99AF-1100E6B9ED67}" dt="2022-11-02T11:47:39.452" v="5972" actId="164"/>
          <ac:spMkLst>
            <pc:docMk/>
            <pc:sldMk cId="2564620372" sldId="271"/>
            <ac:spMk id="6" creationId="{924F2FCB-C035-4A31-9E77-502B2C313665}"/>
          </ac:spMkLst>
        </pc:spChg>
        <pc:spChg chg="add mod">
          <ac:chgData name="Ettore Minelli" userId="7870a1ad-01cf-4239-8cce-750deae7f4ef" providerId="ADAL" clId="{0FDC7236-0C66-43F6-99AF-1100E6B9ED67}" dt="2022-11-02T11:47:39.452" v="5972" actId="164"/>
          <ac:spMkLst>
            <pc:docMk/>
            <pc:sldMk cId="2564620372" sldId="271"/>
            <ac:spMk id="7" creationId="{1024FEF4-57D2-4E55-9FEE-025024F5BE96}"/>
          </ac:spMkLst>
        </pc:spChg>
        <pc:spChg chg="add mod">
          <ac:chgData name="Ettore Minelli" userId="7870a1ad-01cf-4239-8cce-750deae7f4ef" providerId="ADAL" clId="{0FDC7236-0C66-43F6-99AF-1100E6B9ED67}" dt="2022-11-02T11:47:39.452" v="5972" actId="164"/>
          <ac:spMkLst>
            <pc:docMk/>
            <pc:sldMk cId="2564620372" sldId="271"/>
            <ac:spMk id="8" creationId="{9F6E2529-09AB-4FE3-A528-55C08A6F660D}"/>
          </ac:spMkLst>
        </pc:spChg>
        <pc:spChg chg="add del mod">
          <ac:chgData name="Ettore Minelli" userId="7870a1ad-01cf-4239-8cce-750deae7f4ef" providerId="ADAL" clId="{0FDC7236-0C66-43F6-99AF-1100E6B9ED67}" dt="2022-11-02T11:44:16.215" v="5890" actId="478"/>
          <ac:spMkLst>
            <pc:docMk/>
            <pc:sldMk cId="2564620372" sldId="271"/>
            <ac:spMk id="9" creationId="{1D22FDAC-32D1-4D85-8A8F-F581B9AE05C0}"/>
          </ac:spMkLst>
        </pc:spChg>
        <pc:spChg chg="add mod">
          <ac:chgData name="Ettore Minelli" userId="7870a1ad-01cf-4239-8cce-750deae7f4ef" providerId="ADAL" clId="{0FDC7236-0C66-43F6-99AF-1100E6B9ED67}" dt="2022-11-02T11:47:39.452" v="5972" actId="164"/>
          <ac:spMkLst>
            <pc:docMk/>
            <pc:sldMk cId="2564620372" sldId="271"/>
            <ac:spMk id="10" creationId="{1BB8F316-BB16-48F0-98FF-F3ADA8F785B2}"/>
          </ac:spMkLst>
        </pc:spChg>
        <pc:spChg chg="add mod ord">
          <ac:chgData name="Ettore Minelli" userId="7870a1ad-01cf-4239-8cce-750deae7f4ef" providerId="ADAL" clId="{0FDC7236-0C66-43F6-99AF-1100E6B9ED67}" dt="2022-11-02T12:01:41.609" v="6514" actId="164"/>
          <ac:spMkLst>
            <pc:docMk/>
            <pc:sldMk cId="2564620372" sldId="271"/>
            <ac:spMk id="11" creationId="{2ECC1AB6-E8B8-46DB-AAA7-7D601FEC2EF0}"/>
          </ac:spMkLst>
        </pc:spChg>
        <pc:spChg chg="add mod ord">
          <ac:chgData name="Ettore Minelli" userId="7870a1ad-01cf-4239-8cce-750deae7f4ef" providerId="ADAL" clId="{0FDC7236-0C66-43F6-99AF-1100E6B9ED67}" dt="2022-11-02T12:01:41.609" v="6514" actId="164"/>
          <ac:spMkLst>
            <pc:docMk/>
            <pc:sldMk cId="2564620372" sldId="271"/>
            <ac:spMk id="12" creationId="{E9D0A9EF-542C-4443-9843-DFC45EA9304D}"/>
          </ac:spMkLst>
        </pc:spChg>
        <pc:spChg chg="add mod ord">
          <ac:chgData name="Ettore Minelli" userId="7870a1ad-01cf-4239-8cce-750deae7f4ef" providerId="ADAL" clId="{0FDC7236-0C66-43F6-99AF-1100E6B9ED67}" dt="2022-11-02T12:01:41.609" v="6514" actId="164"/>
          <ac:spMkLst>
            <pc:docMk/>
            <pc:sldMk cId="2564620372" sldId="271"/>
            <ac:spMk id="13" creationId="{2320B629-8DE2-4314-B310-EFC4C7FF12E5}"/>
          </ac:spMkLst>
        </pc:spChg>
        <pc:spChg chg="add mod ord">
          <ac:chgData name="Ettore Minelli" userId="7870a1ad-01cf-4239-8cce-750deae7f4ef" providerId="ADAL" clId="{0FDC7236-0C66-43F6-99AF-1100E6B9ED67}" dt="2022-11-02T12:01:41.609" v="6514" actId="164"/>
          <ac:spMkLst>
            <pc:docMk/>
            <pc:sldMk cId="2564620372" sldId="271"/>
            <ac:spMk id="14" creationId="{D64601D5-3838-4FF5-9FF9-86AF6C9336DD}"/>
          </ac:spMkLst>
        </pc:spChg>
        <pc:spChg chg="add del">
          <ac:chgData name="Ettore Minelli" userId="7870a1ad-01cf-4239-8cce-750deae7f4ef" providerId="ADAL" clId="{0FDC7236-0C66-43F6-99AF-1100E6B9ED67}" dt="2022-11-02T11:46:37.600" v="5964" actId="478"/>
          <ac:spMkLst>
            <pc:docMk/>
            <pc:sldMk cId="2564620372" sldId="271"/>
            <ac:spMk id="15" creationId="{B0EC995D-AB3A-4AA0-99CA-9FEE42EEBFAA}"/>
          </ac:spMkLst>
        </pc:spChg>
        <pc:spChg chg="add mod ord">
          <ac:chgData name="Ettore Minelli" userId="7870a1ad-01cf-4239-8cce-750deae7f4ef" providerId="ADAL" clId="{0FDC7236-0C66-43F6-99AF-1100E6B9ED67}" dt="2022-11-02T12:01:41.609" v="6514" actId="164"/>
          <ac:spMkLst>
            <pc:docMk/>
            <pc:sldMk cId="2564620372" sldId="271"/>
            <ac:spMk id="17" creationId="{43B39994-CC26-42B2-914C-2BDE39DCC25E}"/>
          </ac:spMkLst>
        </pc:spChg>
        <pc:spChg chg="add mod ord">
          <ac:chgData name="Ettore Minelli" userId="7870a1ad-01cf-4239-8cce-750deae7f4ef" providerId="ADAL" clId="{0FDC7236-0C66-43F6-99AF-1100E6B9ED67}" dt="2022-11-02T12:01:41.609" v="6514" actId="164"/>
          <ac:spMkLst>
            <pc:docMk/>
            <pc:sldMk cId="2564620372" sldId="271"/>
            <ac:spMk id="18" creationId="{7BD7AEE9-CD40-4C0A-9D84-AAD7C25C6E04}"/>
          </ac:spMkLst>
        </pc:spChg>
        <pc:spChg chg="add mod ord">
          <ac:chgData name="Ettore Minelli" userId="7870a1ad-01cf-4239-8cce-750deae7f4ef" providerId="ADAL" clId="{0FDC7236-0C66-43F6-99AF-1100E6B9ED67}" dt="2022-11-02T12:01:41.609" v="6514" actId="164"/>
          <ac:spMkLst>
            <pc:docMk/>
            <pc:sldMk cId="2564620372" sldId="271"/>
            <ac:spMk id="19" creationId="{0663078A-C0FA-43E0-9386-2DD013E81393}"/>
          </ac:spMkLst>
        </pc:spChg>
        <pc:spChg chg="add mod ord">
          <ac:chgData name="Ettore Minelli" userId="7870a1ad-01cf-4239-8cce-750deae7f4ef" providerId="ADAL" clId="{0FDC7236-0C66-43F6-99AF-1100E6B9ED67}" dt="2022-11-02T12:01:41.609" v="6514" actId="164"/>
          <ac:spMkLst>
            <pc:docMk/>
            <pc:sldMk cId="2564620372" sldId="271"/>
            <ac:spMk id="20" creationId="{F6EC7F48-202C-43E7-9819-0F68B1D59F03}"/>
          </ac:spMkLst>
        </pc:spChg>
        <pc:spChg chg="add mod ord">
          <ac:chgData name="Ettore Minelli" userId="7870a1ad-01cf-4239-8cce-750deae7f4ef" providerId="ADAL" clId="{0FDC7236-0C66-43F6-99AF-1100E6B9ED67}" dt="2022-11-02T12:01:41.609" v="6514" actId="164"/>
          <ac:spMkLst>
            <pc:docMk/>
            <pc:sldMk cId="2564620372" sldId="271"/>
            <ac:spMk id="21" creationId="{0F854F3A-3900-4931-A53F-E07D9A5876AB}"/>
          </ac:spMkLst>
        </pc:spChg>
        <pc:spChg chg="add mod ord">
          <ac:chgData name="Ettore Minelli" userId="7870a1ad-01cf-4239-8cce-750deae7f4ef" providerId="ADAL" clId="{0FDC7236-0C66-43F6-99AF-1100E6B9ED67}" dt="2022-11-02T12:01:41.609" v="6514" actId="164"/>
          <ac:spMkLst>
            <pc:docMk/>
            <pc:sldMk cId="2564620372" sldId="271"/>
            <ac:spMk id="22" creationId="{1A5D3EAE-3AFF-489B-B7EB-3D2B15B87D33}"/>
          </ac:spMkLst>
        </pc:spChg>
        <pc:spChg chg="add mod ord">
          <ac:chgData name="Ettore Minelli" userId="7870a1ad-01cf-4239-8cce-750deae7f4ef" providerId="ADAL" clId="{0FDC7236-0C66-43F6-99AF-1100E6B9ED67}" dt="2022-11-02T12:01:41.609" v="6514" actId="164"/>
          <ac:spMkLst>
            <pc:docMk/>
            <pc:sldMk cId="2564620372" sldId="271"/>
            <ac:spMk id="23" creationId="{9B2043E4-F576-423A-9A78-D47FED0D6743}"/>
          </ac:spMkLst>
        </pc:spChg>
        <pc:spChg chg="add mod ord">
          <ac:chgData name="Ettore Minelli" userId="7870a1ad-01cf-4239-8cce-750deae7f4ef" providerId="ADAL" clId="{0FDC7236-0C66-43F6-99AF-1100E6B9ED67}" dt="2022-11-02T12:01:41.609" v="6514" actId="164"/>
          <ac:spMkLst>
            <pc:docMk/>
            <pc:sldMk cId="2564620372" sldId="271"/>
            <ac:spMk id="24" creationId="{D40F4D77-5C91-46B6-A0CE-AB3AD299A8EC}"/>
          </ac:spMkLst>
        </pc:spChg>
        <pc:spChg chg="add del mod">
          <ac:chgData name="Ettore Minelli" userId="7870a1ad-01cf-4239-8cce-750deae7f4ef" providerId="ADAL" clId="{0FDC7236-0C66-43F6-99AF-1100E6B9ED67}" dt="2022-11-02T11:55:17.989" v="6077"/>
          <ac:spMkLst>
            <pc:docMk/>
            <pc:sldMk cId="2564620372" sldId="271"/>
            <ac:spMk id="25" creationId="{187AF862-A858-4B72-B207-E1C230754ED2}"/>
          </ac:spMkLst>
        </pc:spChg>
        <pc:spChg chg="add mod ord">
          <ac:chgData name="Ettore Minelli" userId="7870a1ad-01cf-4239-8cce-750deae7f4ef" providerId="ADAL" clId="{0FDC7236-0C66-43F6-99AF-1100E6B9ED67}" dt="2022-11-02T12:01:41.609" v="6514" actId="164"/>
          <ac:spMkLst>
            <pc:docMk/>
            <pc:sldMk cId="2564620372" sldId="271"/>
            <ac:spMk id="26" creationId="{069258FB-D402-4E26-9642-A3B841D8D5F8}"/>
          </ac:spMkLst>
        </pc:spChg>
        <pc:spChg chg="add mod ord">
          <ac:chgData name="Ettore Minelli" userId="7870a1ad-01cf-4239-8cce-750deae7f4ef" providerId="ADAL" clId="{0FDC7236-0C66-43F6-99AF-1100E6B9ED67}" dt="2022-11-02T12:01:41.609" v="6514" actId="164"/>
          <ac:spMkLst>
            <pc:docMk/>
            <pc:sldMk cId="2564620372" sldId="271"/>
            <ac:spMk id="27" creationId="{696D16FC-10A8-4CD7-86FD-72FC22B31E60}"/>
          </ac:spMkLst>
        </pc:spChg>
        <pc:spChg chg="add mod ord">
          <ac:chgData name="Ettore Minelli" userId="7870a1ad-01cf-4239-8cce-750deae7f4ef" providerId="ADAL" clId="{0FDC7236-0C66-43F6-99AF-1100E6B9ED67}" dt="2022-11-02T12:01:41.609" v="6514" actId="164"/>
          <ac:spMkLst>
            <pc:docMk/>
            <pc:sldMk cId="2564620372" sldId="271"/>
            <ac:spMk id="28" creationId="{D494C332-EE1E-497C-A0CF-015013C42828}"/>
          </ac:spMkLst>
        </pc:spChg>
        <pc:spChg chg="add mod ord">
          <ac:chgData name="Ettore Minelli" userId="7870a1ad-01cf-4239-8cce-750deae7f4ef" providerId="ADAL" clId="{0FDC7236-0C66-43F6-99AF-1100E6B9ED67}" dt="2022-11-02T12:01:41.609" v="6514" actId="164"/>
          <ac:spMkLst>
            <pc:docMk/>
            <pc:sldMk cId="2564620372" sldId="271"/>
            <ac:spMk id="29" creationId="{E95423A6-9FBB-44D2-A3BB-0C39C6919C87}"/>
          </ac:spMkLst>
        </pc:spChg>
        <pc:spChg chg="add mod ord">
          <ac:chgData name="Ettore Minelli" userId="7870a1ad-01cf-4239-8cce-750deae7f4ef" providerId="ADAL" clId="{0FDC7236-0C66-43F6-99AF-1100E6B9ED67}" dt="2022-11-02T12:01:41.609" v="6514" actId="164"/>
          <ac:spMkLst>
            <pc:docMk/>
            <pc:sldMk cId="2564620372" sldId="271"/>
            <ac:spMk id="30" creationId="{D5DD02B2-AA72-4DE1-987C-5490D0DE08E9}"/>
          </ac:spMkLst>
        </pc:spChg>
        <pc:spChg chg="add mod ord">
          <ac:chgData name="Ettore Minelli" userId="7870a1ad-01cf-4239-8cce-750deae7f4ef" providerId="ADAL" clId="{0FDC7236-0C66-43F6-99AF-1100E6B9ED67}" dt="2022-11-02T12:01:41.609" v="6514" actId="164"/>
          <ac:spMkLst>
            <pc:docMk/>
            <pc:sldMk cId="2564620372" sldId="271"/>
            <ac:spMk id="31" creationId="{48723608-6CAC-4049-A8C8-CC0472833FD9}"/>
          </ac:spMkLst>
        </pc:spChg>
        <pc:spChg chg="add mod ord">
          <ac:chgData name="Ettore Minelli" userId="7870a1ad-01cf-4239-8cce-750deae7f4ef" providerId="ADAL" clId="{0FDC7236-0C66-43F6-99AF-1100E6B9ED67}" dt="2022-11-02T12:01:41.609" v="6514" actId="164"/>
          <ac:spMkLst>
            <pc:docMk/>
            <pc:sldMk cId="2564620372" sldId="271"/>
            <ac:spMk id="32" creationId="{F5EF50F3-B520-4C06-8907-D9189EE50316}"/>
          </ac:spMkLst>
        </pc:spChg>
        <pc:spChg chg="add mod ord">
          <ac:chgData name="Ettore Minelli" userId="7870a1ad-01cf-4239-8cce-750deae7f4ef" providerId="ADAL" clId="{0FDC7236-0C66-43F6-99AF-1100E6B9ED67}" dt="2022-11-02T12:01:41.609" v="6514" actId="164"/>
          <ac:spMkLst>
            <pc:docMk/>
            <pc:sldMk cId="2564620372" sldId="271"/>
            <ac:spMk id="33" creationId="{9855D85F-B4DF-4C8E-B026-41E792221094}"/>
          </ac:spMkLst>
        </pc:spChg>
        <pc:spChg chg="add mod ord">
          <ac:chgData name="Ettore Minelli" userId="7870a1ad-01cf-4239-8cce-750deae7f4ef" providerId="ADAL" clId="{0FDC7236-0C66-43F6-99AF-1100E6B9ED67}" dt="2022-11-02T12:01:41.609" v="6514" actId="164"/>
          <ac:spMkLst>
            <pc:docMk/>
            <pc:sldMk cId="2564620372" sldId="271"/>
            <ac:spMk id="34" creationId="{A416FD4D-084F-4A3F-BAE7-7B3739746F19}"/>
          </ac:spMkLst>
        </pc:spChg>
        <pc:spChg chg="add mod ord">
          <ac:chgData name="Ettore Minelli" userId="7870a1ad-01cf-4239-8cce-750deae7f4ef" providerId="ADAL" clId="{0FDC7236-0C66-43F6-99AF-1100E6B9ED67}" dt="2022-11-02T12:01:41.609" v="6514" actId="164"/>
          <ac:spMkLst>
            <pc:docMk/>
            <pc:sldMk cId="2564620372" sldId="271"/>
            <ac:spMk id="35" creationId="{0228DB89-A40E-4BC6-B618-D0047FD446AA}"/>
          </ac:spMkLst>
        </pc:spChg>
        <pc:spChg chg="add mod ord">
          <ac:chgData name="Ettore Minelli" userId="7870a1ad-01cf-4239-8cce-750deae7f4ef" providerId="ADAL" clId="{0FDC7236-0C66-43F6-99AF-1100E6B9ED67}" dt="2022-11-02T12:01:41.609" v="6514" actId="164"/>
          <ac:spMkLst>
            <pc:docMk/>
            <pc:sldMk cId="2564620372" sldId="271"/>
            <ac:spMk id="36" creationId="{13B8429C-BFD3-40C4-A781-A7BE07F32C83}"/>
          </ac:spMkLst>
        </pc:spChg>
        <pc:spChg chg="add mod ord">
          <ac:chgData name="Ettore Minelli" userId="7870a1ad-01cf-4239-8cce-750deae7f4ef" providerId="ADAL" clId="{0FDC7236-0C66-43F6-99AF-1100E6B9ED67}" dt="2022-11-02T12:01:41.609" v="6514" actId="164"/>
          <ac:spMkLst>
            <pc:docMk/>
            <pc:sldMk cId="2564620372" sldId="271"/>
            <ac:spMk id="37" creationId="{6B719932-C847-49B1-9779-3F9BDF0E2DFE}"/>
          </ac:spMkLst>
        </pc:spChg>
        <pc:grpChg chg="add mod ord">
          <ac:chgData name="Ettore Minelli" userId="7870a1ad-01cf-4239-8cce-750deae7f4ef" providerId="ADAL" clId="{0FDC7236-0C66-43F6-99AF-1100E6B9ED67}" dt="2022-11-02T12:01:41.609" v="6514" actId="164"/>
          <ac:grpSpMkLst>
            <pc:docMk/>
            <pc:sldMk cId="2564620372" sldId="271"/>
            <ac:grpSpMk id="16" creationId="{C19D85E6-EB1F-4FF4-9D57-2E81B73EF43E}"/>
          </ac:grpSpMkLst>
        </pc:grpChg>
        <pc:grpChg chg="add mod">
          <ac:chgData name="Ettore Minelli" userId="7870a1ad-01cf-4239-8cce-750deae7f4ef" providerId="ADAL" clId="{0FDC7236-0C66-43F6-99AF-1100E6B9ED67}" dt="2022-11-02T12:01:41.609" v="6514" actId="164"/>
          <ac:grpSpMkLst>
            <pc:docMk/>
            <pc:sldMk cId="2564620372" sldId="271"/>
            <ac:grpSpMk id="39" creationId="{E06CFEF3-70C4-4892-AD39-8772633F7B7B}"/>
          </ac:grpSpMkLst>
        </pc:grpChg>
        <pc:graphicFrameChg chg="add mod ord modVis replST">
          <ac:chgData name="Ettore Minelli" userId="7870a1ad-01cf-4239-8cce-750deae7f4ef" providerId="ADAL" clId="{0FDC7236-0C66-43F6-99AF-1100E6B9ED67}" dt="2022-11-02T12:00:55.109" v="6510"/>
          <ac:graphicFrameMkLst>
            <pc:docMk/>
            <pc:sldMk cId="2564620372" sldId="271"/>
            <ac:graphicFrameMk id="38" creationId="{444635A0-E07B-472D-BB17-0D38E4B9CE97}"/>
          </ac:graphicFrameMkLst>
        </pc:graphicFrameChg>
      </pc:sldChg>
      <pc:sldMasterChg chg="addSp delSp modSp mod">
        <pc:chgData name="Ettore Minelli" userId="7870a1ad-01cf-4239-8cce-750deae7f4ef" providerId="ADAL" clId="{0FDC7236-0C66-43F6-99AF-1100E6B9ED67}" dt="2022-11-02T12:00:48.459" v="6388"/>
        <pc:sldMasterMkLst>
          <pc:docMk/>
          <pc:sldMasterMk cId="3470508403" sldId="2147483648"/>
        </pc:sldMasterMkLst>
        <pc:spChg chg="mod">
          <ac:chgData name="Ettore Minelli" userId="7870a1ad-01cf-4239-8cce-750deae7f4ef" providerId="ADAL" clId="{0FDC7236-0C66-43F6-99AF-1100E6B9ED67}" dt="2022-11-02T12:00:48.226" v="6282" actId="948"/>
          <ac:spMkLst>
            <pc:docMk/>
            <pc:sldMasterMk cId="3470508403" sldId="2147483648"/>
            <ac:spMk id="2" creationId="{B8022FDB-BCC3-4ABC-98A3-544B4CEA37FB}"/>
          </ac:spMkLst>
        </pc:spChg>
        <pc:spChg chg="add del mod modVis">
          <ac:chgData name="Ettore Minelli" userId="7870a1ad-01cf-4239-8cce-750deae7f4ef" providerId="ADAL" clId="{0FDC7236-0C66-43F6-99AF-1100E6B9ED67}" dt="2022-11-02T12:00:48.308" v="6372"/>
          <ac:spMkLst>
            <pc:docMk/>
            <pc:sldMasterMk cId="3470508403" sldId="2147483648"/>
            <ac:spMk id="7" creationId="{93C58D40-2748-406C-B60B-C6DCF36A6043}"/>
          </ac:spMkLst>
        </pc:spChg>
        <pc:graphicFrameChg chg="add mod ord modVis replST">
          <ac:chgData name="Ettore Minelli" userId="7870a1ad-01cf-4239-8cce-750deae7f4ef" providerId="ADAL" clId="{0FDC7236-0C66-43F6-99AF-1100E6B9ED67}" dt="2022-11-02T12:00:48.459" v="6388"/>
          <ac:graphicFrameMkLst>
            <pc:docMk/>
            <pc:sldMasterMk cId="3470508403" sldId="2147483648"/>
            <ac:graphicFrameMk id="8" creationId="{09B4CD01-BFDA-4542-8707-E85316C31A29}"/>
          </ac:graphicFrameMkLst>
        </pc:graphicFrameChg>
      </pc:sldMasterChg>
    </pc:docChg>
  </pc:docChgLst>
  <pc:docChgLst>
    <pc:chgData name="Ettore Minelli" userId="7870a1ad-01cf-4239-8cce-750deae7f4ef" providerId="ADAL" clId="{D890A15A-E005-484C-858B-6AC90B883B4C}"/>
    <pc:docChg chg="addSld modSld">
      <pc:chgData name="Ettore Minelli" userId="7870a1ad-01cf-4239-8cce-750deae7f4ef" providerId="ADAL" clId="{D890A15A-E005-484C-858B-6AC90B883B4C}" dt="2022-12-22T09:44:36.552" v="16" actId="1076"/>
      <pc:docMkLst>
        <pc:docMk/>
      </pc:docMkLst>
      <pc:sldChg chg="addSp delSp modSp new add mod">
        <pc:chgData name="Ettore Minelli" userId="7870a1ad-01cf-4239-8cce-750deae7f4ef" providerId="ADAL" clId="{D890A15A-E005-484C-858B-6AC90B883B4C}" dt="2022-12-22T09:44:36.552" v="16" actId="1076"/>
        <pc:sldMkLst>
          <pc:docMk/>
          <pc:sldMk cId="1388989489" sldId="272"/>
        </pc:sldMkLst>
        <pc:spChg chg="add del mod">
          <ac:chgData name="Ettore Minelli" userId="7870a1ad-01cf-4239-8cce-750deae7f4ef" providerId="ADAL" clId="{D890A15A-E005-484C-858B-6AC90B883B4C}" dt="2022-12-22T09:34:50.249" v="8"/>
          <ac:spMkLst>
            <pc:docMk/>
            <pc:sldMk cId="1388989489" sldId="272"/>
            <ac:spMk id="4" creationId="{24DBD773-BA01-4ED5-AD06-8D681DE6D93D}"/>
          </ac:spMkLst>
        </pc:spChg>
        <pc:spChg chg="add del">
          <ac:chgData name="Ettore Minelli" userId="7870a1ad-01cf-4239-8cce-750deae7f4ef" providerId="ADAL" clId="{D890A15A-E005-484C-858B-6AC90B883B4C}" dt="2022-12-22T09:34:35.052" v="7"/>
          <ac:spMkLst>
            <pc:docMk/>
            <pc:sldMk cId="1388989489" sldId="272"/>
            <ac:spMk id="5" creationId="{CA2417B8-D5D5-4B1F-87A5-8AE77CC968A7}"/>
          </ac:spMkLst>
        </pc:spChg>
        <pc:picChg chg="add del mod">
          <ac:chgData name="Ettore Minelli" userId="7870a1ad-01cf-4239-8cce-750deae7f4ef" providerId="ADAL" clId="{D890A15A-E005-484C-858B-6AC90B883B4C}" dt="2022-12-22T09:34:50.249" v="8"/>
          <ac:picMkLst>
            <pc:docMk/>
            <pc:sldMk cId="1388989489" sldId="272"/>
            <ac:picMk id="3" creationId="{0701F8B2-4141-4697-81FD-84081830B62E}"/>
          </ac:picMkLst>
        </pc:picChg>
        <pc:picChg chg="mod">
          <ac:chgData name="Ettore Minelli" userId="7870a1ad-01cf-4239-8cce-750deae7f4ef" providerId="ADAL" clId="{D890A15A-E005-484C-858B-6AC90B883B4C}" dt="2022-12-22T09:34:53.219" v="9" actId="1076"/>
          <ac:picMkLst>
            <pc:docMk/>
            <pc:sldMk cId="1388989489" sldId="272"/>
            <ac:picMk id="6" creationId="{10FFC5E7-1767-4D0D-A668-F0D2B065B633}"/>
          </ac:picMkLst>
        </pc:picChg>
        <pc:picChg chg="add mod">
          <ac:chgData name="Ettore Minelli" userId="7870a1ad-01cf-4239-8cce-750deae7f4ef" providerId="ADAL" clId="{D890A15A-E005-484C-858B-6AC90B883B4C}" dt="2022-12-22T09:44:36.552" v="16" actId="1076"/>
          <ac:picMkLst>
            <pc:docMk/>
            <pc:sldMk cId="1388989489" sldId="272"/>
            <ac:picMk id="8" creationId="{9626B953-1BA2-461A-AE2F-8E6B720A14DC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8F4672-46A4-4AD5-92C3-707749543D7F}" type="datetimeFigureOut">
              <a:rPr lang="it-IT" smtClean="0"/>
              <a:t>22/12/2022</a:t>
            </a:fld>
            <a:endParaRPr lang="it-I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7595A2-9596-45FB-BEBC-ACAC74C86774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770835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7595A2-9596-45FB-BEBC-ACAC74C86774}" type="slidenum">
              <a:rPr lang="it-IT" smtClean="0"/>
              <a:t>1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674194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7595A2-9596-45FB-BEBC-ACAC74C86774}" type="slidenum">
              <a:rPr lang="it-IT" smtClean="0"/>
              <a:t>1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86904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195C1A-70BE-41E5-9217-5ABABCD20F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5F813E-C063-463A-BAD1-B29B16BC5A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4F4E76-0B27-494D-AE97-9431B42F56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19A633-3A73-421E-B8E5-714C3D28F589}" type="datetimeFigureOut">
              <a:rPr lang="it-IT" smtClean="0"/>
              <a:t>22/12/2022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83D9C6-F11C-4014-89E9-1F0FED391C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5A667D-1F21-4946-B463-AAC3262F3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3BEAA6-3494-47FB-9A89-9A1C362EA40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282227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355823-4DF6-46CC-818A-DC49FB289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27205A8-042F-45C1-BDC1-FF53E9FEE3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E4D6C9-1774-4FD8-BB61-11B2B8F464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19A633-3A73-421E-B8E5-714C3D28F589}" type="datetimeFigureOut">
              <a:rPr lang="it-IT" smtClean="0"/>
              <a:t>22/12/2022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47534E-7541-4CBB-A4D1-6635B36DD3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622235-BD5B-49CD-8515-7DEA4646BF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3BEAA6-3494-47FB-9A89-9A1C362EA40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66343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5D4AEC3-6B67-493D-B25E-93E5D27912C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F14CF93-DAF1-4AE5-90AE-1EAE30EF41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08CBCE-0E3E-4244-A9BF-36B0A0ED4B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19A633-3A73-421E-B8E5-714C3D28F589}" type="datetimeFigureOut">
              <a:rPr lang="it-IT" smtClean="0"/>
              <a:t>22/12/2022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15BEDC-89E7-43EE-A7EE-CFB174BEF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B8D2DC-AA04-441F-B741-0BF1E93A0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3BEAA6-3494-47FB-9A89-9A1C362EA40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972176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454D93-7C31-46F1-B214-26C7423889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1EA314-07F6-4FCD-9C77-8ED338EAA8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297236-CF5F-41B6-9F2B-DD82E9A72B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19A633-3A73-421E-B8E5-714C3D28F589}" type="datetimeFigureOut">
              <a:rPr lang="it-IT" smtClean="0"/>
              <a:t>22/12/2022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2E0A66-0601-4FAE-8C30-3F0E0FA2B7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7DFC1C-F0D6-4EEB-8821-CBF6CA579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3BEAA6-3494-47FB-9A89-9A1C362EA40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769001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DF3CD-23AC-4FE4-8186-C22115B12C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54C7A9-41AB-4C8F-95BC-ACA4D69F37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3D306C-3CE7-4442-8FE6-041E4928ED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19A633-3A73-421E-B8E5-714C3D28F589}" type="datetimeFigureOut">
              <a:rPr lang="it-IT" smtClean="0"/>
              <a:t>22/12/2022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FEDA3-E9D1-48C6-8231-8AC9A92D90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9EC04B-C7C7-4830-BBC2-AB31042C01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3BEAA6-3494-47FB-9A89-9A1C362EA40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25135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2E6A51-E035-4D2B-9A29-AE1BBEB57A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86DF5E-B13B-4E49-B8CE-1AA1CD45055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ADE9647-63E5-4A01-9D2D-153BE513AB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393F7C-A99F-4070-A7A8-EF9536FD53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19A633-3A73-421E-B8E5-714C3D28F589}" type="datetimeFigureOut">
              <a:rPr lang="it-IT" smtClean="0"/>
              <a:t>22/12/2022</a:t>
            </a:fld>
            <a:endParaRPr lang="it-I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230A72-AC42-4404-905E-BBF212882C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A0530F9-F6DA-4DA9-8208-4F2E89A188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3BEAA6-3494-47FB-9A89-9A1C362EA40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198083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EAE2BB-98F2-4DC5-92FC-4CA5D29372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DBB585-ADBB-4693-A4F2-60FC5B6FEB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6541665-6C68-49BD-B278-6B1CBA139E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4E0C8D-F263-4998-AA2E-3D598B2E499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52DD73-1F0E-4A8B-B695-BA2BFEA0B4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FDA5977-5C32-429C-AFA1-7484115CAD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19A633-3A73-421E-B8E5-714C3D28F589}" type="datetimeFigureOut">
              <a:rPr lang="it-IT" smtClean="0"/>
              <a:t>22/12/2022</a:t>
            </a:fld>
            <a:endParaRPr lang="it-IT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146DCD-416B-475C-9B82-9B6D439BE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B51A582-DA68-462B-A1FC-373149BF59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3BEAA6-3494-47FB-9A89-9A1C362EA40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923422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2A5CF-47CC-4A63-B45A-F371DB1CD5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F8CF48-D15C-47B8-B6E4-E100302376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19A633-3A73-421E-B8E5-714C3D28F589}" type="datetimeFigureOut">
              <a:rPr lang="it-IT" smtClean="0"/>
              <a:t>22/12/2022</a:t>
            </a:fld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24AEF9-1219-49E7-AFEF-C210638154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F99823-2CA0-4975-9AC8-F62CEF6547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3BEAA6-3494-47FB-9A89-9A1C362EA40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643821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67B686E-4F5D-4421-A6CB-F41BAF953D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19A633-3A73-421E-B8E5-714C3D28F589}" type="datetimeFigureOut">
              <a:rPr lang="it-IT" smtClean="0"/>
              <a:t>22/12/2022</a:t>
            </a:fld>
            <a:endParaRPr lang="it-I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719309C-E387-4EC8-826B-8964DA1399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92478F-0139-4459-9152-AA1B9FC87F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3BEAA6-3494-47FB-9A89-9A1C362EA40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491995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BCAC4D-2193-4D85-AA19-7CDDB964E6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FEE65-FC43-4E1C-9BFB-AE062F6D27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27AC17-6EDE-48A1-BA5A-C0601E95B3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91921C-6D03-4824-8C02-FE46FAC407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19A633-3A73-421E-B8E5-714C3D28F589}" type="datetimeFigureOut">
              <a:rPr lang="it-IT" smtClean="0"/>
              <a:t>22/12/2022</a:t>
            </a:fld>
            <a:endParaRPr lang="it-I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9B42C3-6404-4D9D-BC0B-CCD77F3341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6C86D8-8AC4-4587-8CCB-3382C58FC7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3BEAA6-3494-47FB-9A89-9A1C362EA40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9440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E47BBC-EED3-4D64-AB26-9B98E0F248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5802122-0079-4170-B3EC-7016BD4950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3D7162-F8C8-4673-AC13-E1C01187F63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B90F332-9E39-47EB-95ED-D999ECD160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19A633-3A73-421E-B8E5-714C3D28F589}" type="datetimeFigureOut">
              <a:rPr lang="it-IT" smtClean="0"/>
              <a:t>22/12/2022</a:t>
            </a:fld>
            <a:endParaRPr lang="it-I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9A3D16-1F87-441B-AEF6-1243C17ACF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44C469-71E0-4781-8F0B-57F910A6D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3BEAA6-3494-47FB-9A89-9A1C362EA40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242972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9B4CD01-BFDA-4542-8707-E85316C31A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419840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59" imgH="360" progId="TCLayout.ActiveDocument.1">
                  <p:embed/>
                </p:oleObj>
              </mc:Choice>
              <mc:Fallback>
                <p:oleObj name="think-cell Slide" r:id="rId14" imgW="359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9B4CD01-BFDA-4542-8707-E85316C31A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8022FDB-BCC3-4ABC-98A3-544B4CEA3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DD7D3B-7CF4-4732-B2EE-09807D69EB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7FE68A-537A-4A1D-9D79-0D38CF6402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19A633-3A73-421E-B8E5-714C3D28F589}" type="datetimeFigureOut">
              <a:rPr lang="it-IT" smtClean="0"/>
              <a:t>22/12/2022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8E6743-8F13-47AE-A379-52A6A4A389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D80E94-CD6A-40DE-BF92-C4517A05B4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3BEAA6-3494-47FB-9A89-9A1C362EA40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70508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sv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5" Type="http://schemas.openxmlformats.org/officeDocument/2006/relationships/image" Target="../media/image25.sv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svg"/><Relationship Id="rId18" Type="http://schemas.openxmlformats.org/officeDocument/2006/relationships/image" Target="../media/image42.png"/><Relationship Id="rId26" Type="http://schemas.openxmlformats.org/officeDocument/2006/relationships/image" Target="../media/image50.png"/><Relationship Id="rId39" Type="http://schemas.openxmlformats.org/officeDocument/2006/relationships/image" Target="../media/image63.svg"/><Relationship Id="rId3" Type="http://schemas.openxmlformats.org/officeDocument/2006/relationships/image" Target="../media/image27.svg"/><Relationship Id="rId21" Type="http://schemas.openxmlformats.org/officeDocument/2006/relationships/image" Target="../media/image45.svg"/><Relationship Id="rId34" Type="http://schemas.openxmlformats.org/officeDocument/2006/relationships/image" Target="../media/image58.png"/><Relationship Id="rId42" Type="http://schemas.openxmlformats.org/officeDocument/2006/relationships/image" Target="../media/image66.png"/><Relationship Id="rId7" Type="http://schemas.openxmlformats.org/officeDocument/2006/relationships/image" Target="../media/image31.svg"/><Relationship Id="rId12" Type="http://schemas.openxmlformats.org/officeDocument/2006/relationships/image" Target="../media/image36.png"/><Relationship Id="rId17" Type="http://schemas.openxmlformats.org/officeDocument/2006/relationships/image" Target="../media/image41.svg"/><Relationship Id="rId25" Type="http://schemas.openxmlformats.org/officeDocument/2006/relationships/image" Target="../media/image49.svg"/><Relationship Id="rId33" Type="http://schemas.openxmlformats.org/officeDocument/2006/relationships/image" Target="../media/image57.svg"/><Relationship Id="rId38" Type="http://schemas.openxmlformats.org/officeDocument/2006/relationships/image" Target="../media/image62.png"/><Relationship Id="rId2" Type="http://schemas.openxmlformats.org/officeDocument/2006/relationships/image" Target="../media/image26.png"/><Relationship Id="rId16" Type="http://schemas.openxmlformats.org/officeDocument/2006/relationships/image" Target="../media/image40.png"/><Relationship Id="rId20" Type="http://schemas.openxmlformats.org/officeDocument/2006/relationships/image" Target="../media/image44.png"/><Relationship Id="rId29" Type="http://schemas.openxmlformats.org/officeDocument/2006/relationships/image" Target="../media/image53.svg"/><Relationship Id="rId41" Type="http://schemas.openxmlformats.org/officeDocument/2006/relationships/image" Target="../media/image65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png"/><Relationship Id="rId11" Type="http://schemas.openxmlformats.org/officeDocument/2006/relationships/image" Target="../media/image35.svg"/><Relationship Id="rId24" Type="http://schemas.openxmlformats.org/officeDocument/2006/relationships/image" Target="../media/image48.png"/><Relationship Id="rId32" Type="http://schemas.openxmlformats.org/officeDocument/2006/relationships/image" Target="../media/image56.png"/><Relationship Id="rId37" Type="http://schemas.openxmlformats.org/officeDocument/2006/relationships/image" Target="../media/image61.svg"/><Relationship Id="rId40" Type="http://schemas.openxmlformats.org/officeDocument/2006/relationships/image" Target="../media/image64.png"/><Relationship Id="rId45" Type="http://schemas.openxmlformats.org/officeDocument/2006/relationships/image" Target="../media/image69.svg"/><Relationship Id="rId5" Type="http://schemas.openxmlformats.org/officeDocument/2006/relationships/image" Target="../media/image29.svg"/><Relationship Id="rId15" Type="http://schemas.openxmlformats.org/officeDocument/2006/relationships/image" Target="../media/image39.svg"/><Relationship Id="rId23" Type="http://schemas.openxmlformats.org/officeDocument/2006/relationships/image" Target="../media/image47.svg"/><Relationship Id="rId28" Type="http://schemas.openxmlformats.org/officeDocument/2006/relationships/image" Target="../media/image52.png"/><Relationship Id="rId36" Type="http://schemas.openxmlformats.org/officeDocument/2006/relationships/image" Target="../media/image60.png"/><Relationship Id="rId10" Type="http://schemas.openxmlformats.org/officeDocument/2006/relationships/image" Target="../media/image34.png"/><Relationship Id="rId19" Type="http://schemas.openxmlformats.org/officeDocument/2006/relationships/image" Target="../media/image43.svg"/><Relationship Id="rId31" Type="http://schemas.openxmlformats.org/officeDocument/2006/relationships/image" Target="../media/image55.svg"/><Relationship Id="rId44" Type="http://schemas.openxmlformats.org/officeDocument/2006/relationships/image" Target="../media/image68.png"/><Relationship Id="rId4" Type="http://schemas.openxmlformats.org/officeDocument/2006/relationships/image" Target="../media/image28.png"/><Relationship Id="rId9" Type="http://schemas.openxmlformats.org/officeDocument/2006/relationships/image" Target="../media/image33.svg"/><Relationship Id="rId14" Type="http://schemas.openxmlformats.org/officeDocument/2006/relationships/image" Target="../media/image38.png"/><Relationship Id="rId22" Type="http://schemas.openxmlformats.org/officeDocument/2006/relationships/image" Target="../media/image46.png"/><Relationship Id="rId27" Type="http://schemas.openxmlformats.org/officeDocument/2006/relationships/image" Target="../media/image51.svg"/><Relationship Id="rId30" Type="http://schemas.openxmlformats.org/officeDocument/2006/relationships/image" Target="../media/image54.png"/><Relationship Id="rId35" Type="http://schemas.openxmlformats.org/officeDocument/2006/relationships/image" Target="../media/image59.svg"/><Relationship Id="rId43" Type="http://schemas.openxmlformats.org/officeDocument/2006/relationships/image" Target="../media/image67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71.svg"/><Relationship Id="rId3" Type="http://schemas.openxmlformats.org/officeDocument/2006/relationships/image" Target="../media/image27.svg"/><Relationship Id="rId7" Type="http://schemas.openxmlformats.org/officeDocument/2006/relationships/image" Target="../media/image31.svg"/><Relationship Id="rId12" Type="http://schemas.openxmlformats.org/officeDocument/2006/relationships/image" Target="../media/image70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png"/><Relationship Id="rId11" Type="http://schemas.openxmlformats.org/officeDocument/2006/relationships/image" Target="../media/image65.svg"/><Relationship Id="rId5" Type="http://schemas.openxmlformats.org/officeDocument/2006/relationships/image" Target="../media/image29.svg"/><Relationship Id="rId10" Type="http://schemas.openxmlformats.org/officeDocument/2006/relationships/image" Target="../media/image64.png"/><Relationship Id="rId4" Type="http://schemas.openxmlformats.org/officeDocument/2006/relationships/image" Target="../media/image28.png"/><Relationship Id="rId9" Type="http://schemas.openxmlformats.org/officeDocument/2006/relationships/image" Target="../media/image33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sv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" name="Group 85">
            <a:extLst>
              <a:ext uri="{FF2B5EF4-FFF2-40B4-BE49-F238E27FC236}">
                <a16:creationId xmlns:a16="http://schemas.microsoft.com/office/drawing/2014/main" id="{51427CA7-CD3B-4D15-BD25-DD72B524C81A}"/>
              </a:ext>
            </a:extLst>
          </p:cNvPr>
          <p:cNvGrpSpPr/>
          <p:nvPr/>
        </p:nvGrpSpPr>
        <p:grpSpPr>
          <a:xfrm>
            <a:off x="3074598" y="681542"/>
            <a:ext cx="5700249" cy="4827397"/>
            <a:chOff x="3216000" y="238482"/>
            <a:chExt cx="5700249" cy="4827397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103A7B9-F119-4E32-BBA5-82BED753F773}"/>
                </a:ext>
              </a:extLst>
            </p:cNvPr>
            <p:cNvSpPr/>
            <p:nvPr/>
          </p:nvSpPr>
          <p:spPr>
            <a:xfrm>
              <a:off x="4656000" y="238482"/>
              <a:ext cx="1440000" cy="3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iritti Reali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90E5142-B001-4B22-81F3-D144A769297B}"/>
                </a:ext>
              </a:extLst>
            </p:cNvPr>
            <p:cNvSpPr/>
            <p:nvPr/>
          </p:nvSpPr>
          <p:spPr>
            <a:xfrm>
              <a:off x="3216000" y="707458"/>
              <a:ext cx="1440000" cy="3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us in re propria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2E66E18-7D5E-47E9-AA81-E784D208CED9}"/>
                </a:ext>
              </a:extLst>
            </p:cNvPr>
            <p:cNvSpPr/>
            <p:nvPr/>
          </p:nvSpPr>
          <p:spPr>
            <a:xfrm>
              <a:off x="6096000" y="707458"/>
              <a:ext cx="1440000" cy="3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us in re aliena</a:t>
              </a: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B91AB4AA-64EF-4C71-8027-C72F3817D097}"/>
                </a:ext>
              </a:extLst>
            </p:cNvPr>
            <p:cNvSpPr/>
            <p:nvPr/>
          </p:nvSpPr>
          <p:spPr>
            <a:xfrm>
              <a:off x="3324000" y="1278574"/>
              <a:ext cx="1224000" cy="360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roprietà</a:t>
              </a: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4F5B009-7E21-443C-A0FE-A9366089287D}"/>
                </a:ext>
              </a:extLst>
            </p:cNvPr>
            <p:cNvCxnSpPr>
              <a:cxnSpLocks/>
              <a:stCxn id="4" idx="2"/>
              <a:endCxn id="5" idx="0"/>
            </p:cNvCxnSpPr>
            <p:nvPr/>
          </p:nvCxnSpPr>
          <p:spPr>
            <a:xfrm flipH="1">
              <a:off x="3936000" y="598482"/>
              <a:ext cx="1440000" cy="108976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4E2B6926-031F-4473-8671-146CC106407A}"/>
                </a:ext>
              </a:extLst>
            </p:cNvPr>
            <p:cNvCxnSpPr>
              <a:cxnSpLocks/>
              <a:stCxn id="4" idx="2"/>
              <a:endCxn id="6" idx="0"/>
            </p:cNvCxnSpPr>
            <p:nvPr/>
          </p:nvCxnSpPr>
          <p:spPr>
            <a:xfrm>
              <a:off x="5376000" y="598482"/>
              <a:ext cx="1440000" cy="108976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A583C8A2-F4AC-49F3-B72F-50E1ED026B71}"/>
                </a:ext>
              </a:extLst>
            </p:cNvPr>
            <p:cNvCxnSpPr>
              <a:cxnSpLocks/>
              <a:stCxn id="5" idx="2"/>
              <a:endCxn id="10" idx="0"/>
            </p:cNvCxnSpPr>
            <p:nvPr/>
          </p:nvCxnSpPr>
          <p:spPr>
            <a:xfrm>
              <a:off x="3936000" y="1067458"/>
              <a:ext cx="0" cy="211116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31F2714-5053-4B72-A014-88EA8983AA18}"/>
                </a:ext>
              </a:extLst>
            </p:cNvPr>
            <p:cNvSpPr/>
            <p:nvPr/>
          </p:nvSpPr>
          <p:spPr>
            <a:xfrm>
              <a:off x="5146351" y="1278574"/>
              <a:ext cx="1440000" cy="3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iritti di godimento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3FEE01C-22DE-402C-9125-E6CC0D24F889}"/>
                </a:ext>
              </a:extLst>
            </p:cNvPr>
            <p:cNvSpPr/>
            <p:nvPr/>
          </p:nvSpPr>
          <p:spPr>
            <a:xfrm>
              <a:off x="7184702" y="1278574"/>
              <a:ext cx="1440000" cy="3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iritti di garanzia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CF1763F-D447-4507-8908-2E27B90147C0}"/>
                </a:ext>
              </a:extLst>
            </p:cNvPr>
            <p:cNvCxnSpPr>
              <a:cxnSpLocks/>
              <a:stCxn id="25" idx="0"/>
              <a:endCxn id="6" idx="2"/>
            </p:cNvCxnSpPr>
            <p:nvPr/>
          </p:nvCxnSpPr>
          <p:spPr>
            <a:xfrm flipV="1">
              <a:off x="5866351" y="1067458"/>
              <a:ext cx="949649" cy="211116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6D3A8021-C853-445E-A954-4AC59EE38D29}"/>
                </a:ext>
              </a:extLst>
            </p:cNvPr>
            <p:cNvCxnSpPr>
              <a:cxnSpLocks/>
              <a:stCxn id="26" idx="0"/>
              <a:endCxn id="6" idx="2"/>
            </p:cNvCxnSpPr>
            <p:nvPr/>
          </p:nvCxnSpPr>
          <p:spPr>
            <a:xfrm flipH="1" flipV="1">
              <a:off x="6816000" y="1067458"/>
              <a:ext cx="1088702" cy="211116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14766AC-A89C-429D-85E4-C4EA285EFF7D}"/>
                </a:ext>
              </a:extLst>
            </p:cNvPr>
            <p:cNvSpPr/>
            <p:nvPr/>
          </p:nvSpPr>
          <p:spPr>
            <a:xfrm>
              <a:off x="5254351" y="1849690"/>
              <a:ext cx="1224000" cy="360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Enfiteusi</a:t>
              </a: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7B6E4EF0-BD0F-4781-AC17-DB5495416556}"/>
                </a:ext>
              </a:extLst>
            </p:cNvPr>
            <p:cNvSpPr/>
            <p:nvPr/>
          </p:nvSpPr>
          <p:spPr>
            <a:xfrm>
              <a:off x="5254351" y="2420806"/>
              <a:ext cx="1224000" cy="360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uperficie</a:t>
              </a: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FE9D871-F41C-4D36-A44E-189BB1D98276}"/>
                </a:ext>
              </a:extLst>
            </p:cNvPr>
            <p:cNvSpPr/>
            <p:nvPr/>
          </p:nvSpPr>
          <p:spPr>
            <a:xfrm>
              <a:off x="5254351" y="2991922"/>
              <a:ext cx="1224000" cy="360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Usufrutto</a:t>
              </a: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1A3A140C-317A-4879-A711-947C9D772C89}"/>
                </a:ext>
              </a:extLst>
            </p:cNvPr>
            <p:cNvSpPr/>
            <p:nvPr/>
          </p:nvSpPr>
          <p:spPr>
            <a:xfrm>
              <a:off x="5254351" y="3563241"/>
              <a:ext cx="1224000" cy="360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Uso</a:t>
              </a: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2D3AFD23-ACA0-43A9-B4F4-C006FED81752}"/>
                </a:ext>
              </a:extLst>
            </p:cNvPr>
            <p:cNvSpPr/>
            <p:nvPr/>
          </p:nvSpPr>
          <p:spPr>
            <a:xfrm>
              <a:off x="5254351" y="4134560"/>
              <a:ext cx="1224000" cy="360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bitazione</a:t>
              </a: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D8DAD43F-B986-4101-BE0C-4CE7511C4960}"/>
                </a:ext>
              </a:extLst>
            </p:cNvPr>
            <p:cNvSpPr/>
            <p:nvPr/>
          </p:nvSpPr>
          <p:spPr>
            <a:xfrm>
              <a:off x="5254351" y="4705879"/>
              <a:ext cx="1224000" cy="360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ervitù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898BA5F-867E-41B5-AF76-2AC3DBC74D99}"/>
                </a:ext>
              </a:extLst>
            </p:cNvPr>
            <p:cNvSpPr/>
            <p:nvPr/>
          </p:nvSpPr>
          <p:spPr>
            <a:xfrm>
              <a:off x="7292702" y="1846254"/>
              <a:ext cx="1224000" cy="360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egno</a:t>
              </a: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6680DD48-B00C-4837-A72D-F95E3E4D75BA}"/>
                </a:ext>
              </a:extLst>
            </p:cNvPr>
            <p:cNvSpPr/>
            <p:nvPr/>
          </p:nvSpPr>
          <p:spPr>
            <a:xfrm>
              <a:off x="7292702" y="2413934"/>
              <a:ext cx="1224000" cy="360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poteca</a:t>
              </a: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2EDFE4D0-4ECE-4CEE-99F7-C1519C088D3C}"/>
                </a:ext>
              </a:extLst>
            </p:cNvPr>
            <p:cNvCxnSpPr/>
            <p:nvPr/>
          </p:nvCxnSpPr>
          <p:spPr>
            <a:xfrm>
              <a:off x="4854804" y="1470581"/>
              <a:ext cx="0" cy="3415298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3DBAD8D-C743-47CC-A644-A38B3826476B}"/>
                </a:ext>
              </a:extLst>
            </p:cNvPr>
            <p:cNvCxnSpPr>
              <a:stCxn id="25" idx="1"/>
            </p:cNvCxnSpPr>
            <p:nvPr/>
          </p:nvCxnSpPr>
          <p:spPr>
            <a:xfrm flipH="1">
              <a:off x="4854804" y="1458574"/>
              <a:ext cx="291547" cy="0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E530E6C-F58C-45DE-BF9A-30C40B255F0A}"/>
                </a:ext>
              </a:extLst>
            </p:cNvPr>
            <p:cNvCxnSpPr>
              <a:stCxn id="33" idx="2"/>
            </p:cNvCxnSpPr>
            <p:nvPr/>
          </p:nvCxnSpPr>
          <p:spPr>
            <a:xfrm flipH="1" flipV="1">
              <a:off x="4854804" y="2026254"/>
              <a:ext cx="399547" cy="3436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BBA2B489-9966-4DB3-B5B4-5B557B6C8076}"/>
                </a:ext>
              </a:extLst>
            </p:cNvPr>
            <p:cNvCxnSpPr>
              <a:stCxn id="34" idx="2"/>
            </p:cNvCxnSpPr>
            <p:nvPr/>
          </p:nvCxnSpPr>
          <p:spPr>
            <a:xfrm flipH="1">
              <a:off x="4854804" y="2600806"/>
              <a:ext cx="399547" cy="0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6A32EB6D-02D1-42FC-B10F-93A14EEFAF5A}"/>
                </a:ext>
              </a:extLst>
            </p:cNvPr>
            <p:cNvCxnSpPr>
              <a:stCxn id="35" idx="2"/>
            </p:cNvCxnSpPr>
            <p:nvPr/>
          </p:nvCxnSpPr>
          <p:spPr>
            <a:xfrm flipH="1">
              <a:off x="4854804" y="3171922"/>
              <a:ext cx="399547" cy="0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E0AC21F6-173B-47A2-BEEE-C06E0C1208F2}"/>
                </a:ext>
              </a:extLst>
            </p:cNvPr>
            <p:cNvCxnSpPr>
              <a:stCxn id="36" idx="2"/>
            </p:cNvCxnSpPr>
            <p:nvPr/>
          </p:nvCxnSpPr>
          <p:spPr>
            <a:xfrm flipH="1">
              <a:off x="4854804" y="3743241"/>
              <a:ext cx="399547" cy="0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B2F10781-5C57-4A86-AE94-E0DB2D308675}"/>
                </a:ext>
              </a:extLst>
            </p:cNvPr>
            <p:cNvCxnSpPr>
              <a:stCxn id="37" idx="2"/>
            </p:cNvCxnSpPr>
            <p:nvPr/>
          </p:nvCxnSpPr>
          <p:spPr>
            <a:xfrm flipH="1">
              <a:off x="4854804" y="4314560"/>
              <a:ext cx="399547" cy="0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DBACE92A-ED63-4BB1-A774-7FD62BCA0D22}"/>
                </a:ext>
              </a:extLst>
            </p:cNvPr>
            <p:cNvCxnSpPr>
              <a:stCxn id="38" idx="2"/>
            </p:cNvCxnSpPr>
            <p:nvPr/>
          </p:nvCxnSpPr>
          <p:spPr>
            <a:xfrm flipH="1">
              <a:off x="4854804" y="4885879"/>
              <a:ext cx="399547" cy="0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8D404D31-798D-4AEB-9246-EA38ADF4BA9C}"/>
                </a:ext>
              </a:extLst>
            </p:cNvPr>
            <p:cNvCxnSpPr/>
            <p:nvPr/>
          </p:nvCxnSpPr>
          <p:spPr>
            <a:xfrm flipH="1">
              <a:off x="8624702" y="1470581"/>
              <a:ext cx="291547" cy="0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ACD01FA1-D62A-4D16-B190-8962F0B98F04}"/>
                </a:ext>
              </a:extLst>
            </p:cNvPr>
            <p:cNvCxnSpPr/>
            <p:nvPr/>
          </p:nvCxnSpPr>
          <p:spPr>
            <a:xfrm>
              <a:off x="8916249" y="1470581"/>
              <a:ext cx="0" cy="113536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606418B7-7FF3-4793-B119-C87D354E439F}"/>
                </a:ext>
              </a:extLst>
            </p:cNvPr>
            <p:cNvCxnSpPr>
              <a:stCxn id="40" idx="6"/>
            </p:cNvCxnSpPr>
            <p:nvPr/>
          </p:nvCxnSpPr>
          <p:spPr>
            <a:xfrm>
              <a:off x="8516702" y="2593934"/>
              <a:ext cx="399547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36BBFD6F-2BED-4A69-BCF0-B00B36656008}"/>
                </a:ext>
              </a:extLst>
            </p:cNvPr>
            <p:cNvCxnSpPr>
              <a:stCxn id="39" idx="6"/>
            </p:cNvCxnSpPr>
            <p:nvPr/>
          </p:nvCxnSpPr>
          <p:spPr>
            <a:xfrm>
              <a:off x="8516702" y="2026254"/>
              <a:ext cx="399547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236485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E36A9704-D08D-4702-8CAE-0CA5D4A6B159}"/>
              </a:ext>
            </a:extLst>
          </p:cNvPr>
          <p:cNvGrpSpPr/>
          <p:nvPr/>
        </p:nvGrpSpPr>
        <p:grpSpPr>
          <a:xfrm>
            <a:off x="16981" y="1"/>
            <a:ext cx="6068830" cy="2381968"/>
            <a:chOff x="14354" y="1"/>
            <a:chExt cx="7814193" cy="306700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6ACC817-A26A-4C06-BBB9-7EABEB1F9C81}"/>
                </a:ext>
              </a:extLst>
            </p:cNvPr>
            <p:cNvSpPr/>
            <p:nvPr/>
          </p:nvSpPr>
          <p:spPr>
            <a:xfrm>
              <a:off x="6497693" y="1"/>
              <a:ext cx="1330854" cy="25281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it-IT" sz="9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ONTROL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4A131F09-9CA6-4F3E-B03E-A214B0795CB4}"/>
                </a:ext>
              </a:extLst>
            </p:cNvPr>
            <p:cNvCxnSpPr>
              <a:cxnSpLocks/>
            </p:cNvCxnSpPr>
            <p:nvPr/>
          </p:nvCxnSpPr>
          <p:spPr>
            <a:xfrm>
              <a:off x="1174274" y="2528185"/>
              <a:ext cx="6654271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F71872F1-5058-4BF7-B524-267BF8BB8568}"/>
                </a:ext>
              </a:extLst>
            </p:cNvPr>
            <p:cNvSpPr/>
            <p:nvPr/>
          </p:nvSpPr>
          <p:spPr>
            <a:xfrm>
              <a:off x="1174276" y="1"/>
              <a:ext cx="1330854" cy="252818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it-IT" sz="9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PUT</a:t>
              </a: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C4F33091-E36B-4381-BAD9-54B09A5D496C}"/>
                </a:ext>
              </a:extLst>
            </p:cNvPr>
            <p:cNvSpPr/>
            <p:nvPr/>
          </p:nvSpPr>
          <p:spPr>
            <a:xfrm>
              <a:off x="1387076" y="58643"/>
              <a:ext cx="157983" cy="15798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1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Rectangle: Rounded Corners 7">
                  <a:extLst>
                    <a:ext uri="{FF2B5EF4-FFF2-40B4-BE49-F238E27FC236}">
                      <a16:creationId xmlns:a16="http://schemas.microsoft.com/office/drawing/2014/main" id="{997C2BFF-616C-42B1-BEB8-CC096EA9A3F0}"/>
                    </a:ext>
                  </a:extLst>
                </p:cNvPr>
                <p:cNvSpPr/>
                <p:nvPr/>
              </p:nvSpPr>
              <p:spPr>
                <a:xfrm>
                  <a:off x="1288099" y="332714"/>
                  <a:ext cx="429026" cy="137539"/>
                </a:xfrm>
                <a:prstGeom prst="round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it-IT" sz="6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sz="600" b="0" i="1" smtClean="0">
                                <a:latin typeface="Cambria Math" panose="02040503050406030204" pitchFamily="18" charset="0"/>
                              </a:rPr>
                              <m:t>𝐷𝑎𝑡𝑎</m:t>
                            </m:r>
                          </m:e>
                          <m:sub>
                            <m:r>
                              <a:rPr lang="it-IT" sz="6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it-IT" sz="600" dirty="0"/>
                </a:p>
              </p:txBody>
            </p:sp>
          </mc:Choice>
          <mc:Fallback xmlns="">
            <p:sp>
              <p:nvSpPr>
                <p:cNvPr id="8" name="Rectangle: Rounded Corners 7">
                  <a:extLst>
                    <a:ext uri="{FF2B5EF4-FFF2-40B4-BE49-F238E27FC236}">
                      <a16:creationId xmlns:a16="http://schemas.microsoft.com/office/drawing/2014/main" id="{997C2BFF-616C-42B1-BEB8-CC096EA9A3F0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288099" y="332714"/>
                  <a:ext cx="429026" cy="137539"/>
                </a:xfrm>
                <a:prstGeom prst="roundRect">
                  <a:avLst/>
                </a:prstGeom>
                <a:blipFill>
                  <a:blip r:embed="rId3"/>
                  <a:stretch>
                    <a:fillRect b="-11111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it-IT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" name="Rectangle: Rounded Corners 8">
                  <a:extLst>
                    <a:ext uri="{FF2B5EF4-FFF2-40B4-BE49-F238E27FC236}">
                      <a16:creationId xmlns:a16="http://schemas.microsoft.com/office/drawing/2014/main" id="{D94A27CF-DA00-4366-A6C7-76B9C69C108C}"/>
                    </a:ext>
                  </a:extLst>
                </p:cNvPr>
                <p:cNvSpPr/>
                <p:nvPr/>
              </p:nvSpPr>
              <p:spPr>
                <a:xfrm>
                  <a:off x="1700707" y="503949"/>
                  <a:ext cx="429026" cy="137539"/>
                </a:xfrm>
                <a:prstGeom prst="round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it-IT" sz="6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sz="600" b="0" i="1" smtClean="0">
                                <a:latin typeface="Cambria Math" panose="02040503050406030204" pitchFamily="18" charset="0"/>
                              </a:rPr>
                              <m:t>𝐷𝑎𝑡𝑎</m:t>
                            </m:r>
                          </m:e>
                          <m:sub>
                            <m:r>
                              <a:rPr lang="it-IT" sz="6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it-IT" sz="600" dirty="0"/>
                </a:p>
              </p:txBody>
            </p:sp>
          </mc:Choice>
          <mc:Fallback xmlns="">
            <p:sp>
              <p:nvSpPr>
                <p:cNvPr id="9" name="Rectangle: Rounded Corners 8">
                  <a:extLst>
                    <a:ext uri="{FF2B5EF4-FFF2-40B4-BE49-F238E27FC236}">
                      <a16:creationId xmlns:a16="http://schemas.microsoft.com/office/drawing/2014/main" id="{D94A27CF-DA00-4366-A6C7-76B9C69C108C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700707" y="503949"/>
                  <a:ext cx="429026" cy="137539"/>
                </a:xfrm>
                <a:prstGeom prst="roundRect">
                  <a:avLst/>
                </a:prstGeom>
                <a:blipFill>
                  <a:blip r:embed="rId4"/>
                  <a:stretch>
                    <a:fillRect b="-11111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it-IT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" name="Rectangle: Rounded Corners 9">
                  <a:extLst>
                    <a:ext uri="{FF2B5EF4-FFF2-40B4-BE49-F238E27FC236}">
                      <a16:creationId xmlns:a16="http://schemas.microsoft.com/office/drawing/2014/main" id="{C758EE99-0A48-4728-91F2-76FB72BE0832}"/>
                    </a:ext>
                  </a:extLst>
                </p:cNvPr>
                <p:cNvSpPr/>
                <p:nvPr/>
              </p:nvSpPr>
              <p:spPr>
                <a:xfrm>
                  <a:off x="1325310" y="675183"/>
                  <a:ext cx="429026" cy="137539"/>
                </a:xfrm>
                <a:prstGeom prst="round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it-IT" sz="6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sz="600" b="0" i="1" smtClean="0">
                                <a:latin typeface="Cambria Math" panose="02040503050406030204" pitchFamily="18" charset="0"/>
                              </a:rPr>
                              <m:t>𝐷𝑎𝑡𝑎</m:t>
                            </m:r>
                          </m:e>
                          <m:sub>
                            <m:r>
                              <a:rPr lang="it-IT" sz="600" b="0" i="1" smtClean="0"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</m:oMath>
                    </m:oMathPara>
                  </a14:m>
                  <a:endParaRPr lang="it-IT" sz="600" dirty="0"/>
                </a:p>
              </p:txBody>
            </p:sp>
          </mc:Choice>
          <mc:Fallback xmlns="">
            <p:sp>
              <p:nvSpPr>
                <p:cNvPr id="10" name="Rectangle: Rounded Corners 9">
                  <a:extLst>
                    <a:ext uri="{FF2B5EF4-FFF2-40B4-BE49-F238E27FC236}">
                      <a16:creationId xmlns:a16="http://schemas.microsoft.com/office/drawing/2014/main" id="{C758EE99-0A48-4728-91F2-76FB72BE0832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325310" y="675183"/>
                  <a:ext cx="429026" cy="137539"/>
                </a:xfrm>
                <a:prstGeom prst="roundRect">
                  <a:avLst/>
                </a:prstGeom>
                <a:blipFill>
                  <a:blip r:embed="rId5"/>
                  <a:stretch>
                    <a:fillRect b="-11111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it-IT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BBE278CD-3273-4B93-8E9F-240F5343B71B}"/>
                </a:ext>
              </a:extLst>
            </p:cNvPr>
            <p:cNvGrpSpPr/>
            <p:nvPr/>
          </p:nvGrpSpPr>
          <p:grpSpPr>
            <a:xfrm>
              <a:off x="1636419" y="1138594"/>
              <a:ext cx="406568" cy="239091"/>
              <a:chOff x="870283" y="2044199"/>
              <a:chExt cx="744917" cy="438065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D8D119E6-E0A9-4033-B749-503DD3FB64D3}"/>
                  </a:ext>
                </a:extLst>
              </p:cNvPr>
              <p:cNvSpPr/>
              <p:nvPr/>
            </p:nvSpPr>
            <p:spPr>
              <a:xfrm>
                <a:off x="1098875" y="2044199"/>
                <a:ext cx="124328" cy="12432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sz="900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851D1F5A-A2B1-4813-BB13-DF1D1D54F134}"/>
                  </a:ext>
                </a:extLst>
              </p:cNvPr>
              <p:cNvSpPr/>
              <p:nvPr/>
            </p:nvSpPr>
            <p:spPr>
              <a:xfrm>
                <a:off x="870283" y="2236959"/>
                <a:ext cx="124328" cy="12432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sz="900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3840BA8-CF80-4CB4-A50E-7974987CFFAB}"/>
                  </a:ext>
                </a:extLst>
              </p:cNvPr>
              <p:cNvSpPr/>
              <p:nvPr/>
            </p:nvSpPr>
            <p:spPr>
              <a:xfrm>
                <a:off x="1490872" y="2357936"/>
                <a:ext cx="124328" cy="12432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sz="900"/>
              </a:p>
            </p:txBody>
          </p: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4098EEAC-3881-46CE-A9C3-DC6F184A138E}"/>
                  </a:ext>
                </a:extLst>
              </p:cNvPr>
              <p:cNvCxnSpPr>
                <a:cxnSpLocks/>
                <a:stCxn id="16" idx="7"/>
                <a:endCxn id="15" idx="3"/>
              </p:cNvCxnSpPr>
              <p:nvPr/>
            </p:nvCxnSpPr>
            <p:spPr>
              <a:xfrm flipV="1">
                <a:off x="976404" y="2150320"/>
                <a:ext cx="140678" cy="104846"/>
              </a:xfrm>
              <a:prstGeom prst="line">
                <a:avLst/>
              </a:prstGeom>
              <a:ln w="1905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6D97D33F-6593-457C-A3B3-881075C45A4D}"/>
                  </a:ext>
                </a:extLst>
              </p:cNvPr>
              <p:cNvCxnSpPr>
                <a:stCxn id="15" idx="5"/>
                <a:endCxn id="17" idx="1"/>
              </p:cNvCxnSpPr>
              <p:nvPr/>
            </p:nvCxnSpPr>
            <p:spPr>
              <a:xfrm>
                <a:off x="1204996" y="2150320"/>
                <a:ext cx="304083" cy="225823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48C7CB89-704A-4AED-AA67-3627D041112B}"/>
                </a:ext>
              </a:extLst>
            </p:cNvPr>
            <p:cNvGrpSpPr/>
            <p:nvPr/>
          </p:nvGrpSpPr>
          <p:grpSpPr>
            <a:xfrm>
              <a:off x="1615817" y="1651160"/>
              <a:ext cx="406568" cy="239091"/>
              <a:chOff x="870283" y="2044199"/>
              <a:chExt cx="744917" cy="438065"/>
            </a:xfrm>
          </p:grpSpPr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ADFBA93C-389C-4432-B629-37623ED6B382}"/>
                  </a:ext>
                </a:extLst>
              </p:cNvPr>
              <p:cNvSpPr/>
              <p:nvPr/>
            </p:nvSpPr>
            <p:spPr>
              <a:xfrm>
                <a:off x="1098875" y="2044199"/>
                <a:ext cx="124328" cy="12432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sz="900"/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0495E2B9-ED66-47E4-AF37-633BB4BED6CB}"/>
                  </a:ext>
                </a:extLst>
              </p:cNvPr>
              <p:cNvSpPr/>
              <p:nvPr/>
            </p:nvSpPr>
            <p:spPr>
              <a:xfrm>
                <a:off x="870283" y="2236959"/>
                <a:ext cx="124328" cy="12432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sz="900"/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FEBBD8F7-F7E8-44C7-9D55-5336E971194B}"/>
                  </a:ext>
                </a:extLst>
              </p:cNvPr>
              <p:cNvSpPr/>
              <p:nvPr/>
            </p:nvSpPr>
            <p:spPr>
              <a:xfrm>
                <a:off x="1490872" y="2357936"/>
                <a:ext cx="124328" cy="12432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sz="900"/>
              </a:p>
            </p:txBody>
          </p: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F4851A18-A118-4269-A215-A4A44D872782}"/>
                  </a:ext>
                </a:extLst>
              </p:cNvPr>
              <p:cNvCxnSpPr>
                <a:cxnSpLocks/>
                <a:stCxn id="30" idx="7"/>
                <a:endCxn id="29" idx="3"/>
              </p:cNvCxnSpPr>
              <p:nvPr/>
            </p:nvCxnSpPr>
            <p:spPr>
              <a:xfrm flipV="1">
                <a:off x="976404" y="2150320"/>
                <a:ext cx="140678" cy="104846"/>
              </a:xfrm>
              <a:prstGeom prst="line">
                <a:avLst/>
              </a:prstGeom>
              <a:ln w="1905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178276FD-71AF-410C-B917-C4428F1A00D9}"/>
                  </a:ext>
                </a:extLst>
              </p:cNvPr>
              <p:cNvCxnSpPr>
                <a:stCxn id="29" idx="5"/>
                <a:endCxn id="31" idx="1"/>
              </p:cNvCxnSpPr>
              <p:nvPr/>
            </p:nvCxnSpPr>
            <p:spPr>
              <a:xfrm>
                <a:off x="1204996" y="2150320"/>
                <a:ext cx="304083" cy="225823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046CBF2D-DE17-4A22-B3C0-95D2D094DBAE}"/>
                </a:ext>
              </a:extLst>
            </p:cNvPr>
            <p:cNvGrpSpPr/>
            <p:nvPr/>
          </p:nvGrpSpPr>
          <p:grpSpPr>
            <a:xfrm>
              <a:off x="1591825" y="2155331"/>
              <a:ext cx="406568" cy="239091"/>
              <a:chOff x="870283" y="2044199"/>
              <a:chExt cx="744917" cy="438065"/>
            </a:xfrm>
          </p:grpSpPr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4F1EA00D-B37B-410E-8F0F-99AC1AB9436C}"/>
                  </a:ext>
                </a:extLst>
              </p:cNvPr>
              <p:cNvSpPr/>
              <p:nvPr/>
            </p:nvSpPr>
            <p:spPr>
              <a:xfrm>
                <a:off x="1098875" y="2044199"/>
                <a:ext cx="124328" cy="12432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sz="900"/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27C1BB79-C7A7-4C0D-AFBE-4B01C5CD656A}"/>
                  </a:ext>
                </a:extLst>
              </p:cNvPr>
              <p:cNvSpPr/>
              <p:nvPr/>
            </p:nvSpPr>
            <p:spPr>
              <a:xfrm>
                <a:off x="870283" y="2236959"/>
                <a:ext cx="124328" cy="12432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sz="900"/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FCBE3C8F-EFAB-45AF-83C9-6F43A76D3832}"/>
                  </a:ext>
                </a:extLst>
              </p:cNvPr>
              <p:cNvSpPr/>
              <p:nvPr/>
            </p:nvSpPr>
            <p:spPr>
              <a:xfrm>
                <a:off x="1490872" y="2357936"/>
                <a:ext cx="124328" cy="12432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sz="900"/>
              </a:p>
            </p:txBody>
          </p: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E90064C6-4674-41F7-8921-3E4AC488E5E7}"/>
                  </a:ext>
                </a:extLst>
              </p:cNvPr>
              <p:cNvCxnSpPr>
                <a:cxnSpLocks/>
                <a:stCxn id="36" idx="7"/>
                <a:endCxn id="35" idx="3"/>
              </p:cNvCxnSpPr>
              <p:nvPr/>
            </p:nvCxnSpPr>
            <p:spPr>
              <a:xfrm flipV="1">
                <a:off x="976404" y="2150320"/>
                <a:ext cx="140678" cy="104846"/>
              </a:xfrm>
              <a:prstGeom prst="line">
                <a:avLst/>
              </a:prstGeom>
              <a:ln w="1905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CD21B90E-7234-4D0A-8E04-CB5307453272}"/>
                  </a:ext>
                </a:extLst>
              </p:cNvPr>
              <p:cNvCxnSpPr>
                <a:stCxn id="35" idx="5"/>
                <a:endCxn id="37" idx="1"/>
              </p:cNvCxnSpPr>
              <p:nvPr/>
            </p:nvCxnSpPr>
            <p:spPr>
              <a:xfrm>
                <a:off x="1204996" y="2150320"/>
                <a:ext cx="304083" cy="225823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7DBB925F-9C66-4C16-A176-5699D17DFE32}"/>
                </a:ext>
              </a:extLst>
            </p:cNvPr>
            <p:cNvSpPr txBox="1"/>
            <p:nvPr/>
          </p:nvSpPr>
          <p:spPr>
            <a:xfrm rot="10800000" flipV="1">
              <a:off x="14354" y="1017954"/>
              <a:ext cx="1162507" cy="4359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t-IT" sz="8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atabase Centralizzato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7E037D3A-B2A7-4C7D-BB91-560D31598210}"/>
                </a:ext>
              </a:extLst>
            </p:cNvPr>
            <p:cNvSpPr txBox="1"/>
            <p:nvPr/>
          </p:nvSpPr>
          <p:spPr>
            <a:xfrm rot="10800000" flipV="1">
              <a:off x="31273" y="1471714"/>
              <a:ext cx="1162507" cy="5944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t-IT" sz="8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radizionale Database Distribuito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1672F150-7FF0-428E-B5B7-EB937EA481C2}"/>
                </a:ext>
              </a:extLst>
            </p:cNvPr>
            <p:cNvSpPr txBox="1"/>
            <p:nvPr/>
          </p:nvSpPr>
          <p:spPr>
            <a:xfrm rot="10800000" flipV="1">
              <a:off x="36607" y="1987045"/>
              <a:ext cx="1162507" cy="5944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t-IT" sz="8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istributed Ledger Technology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247B7E78-2B10-46BA-9F94-D467CEB87037}"/>
                </a:ext>
              </a:extLst>
            </p:cNvPr>
            <p:cNvSpPr/>
            <p:nvPr/>
          </p:nvSpPr>
          <p:spPr>
            <a:xfrm>
              <a:off x="2511264" y="1"/>
              <a:ext cx="1330854" cy="252818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it-IT" sz="9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TORAGE</a:t>
              </a: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DB4B5E6F-8D3E-4786-8AAE-544D9D5B2640}"/>
                </a:ext>
              </a:extLst>
            </p:cNvPr>
            <p:cNvSpPr/>
            <p:nvPr/>
          </p:nvSpPr>
          <p:spPr>
            <a:xfrm>
              <a:off x="2581494" y="58491"/>
              <a:ext cx="157983" cy="15798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</a:t>
              </a:r>
            </a:p>
          </p:txBody>
        </p:sp>
        <p:sp>
          <p:nvSpPr>
            <p:cNvPr id="87" name="Rectangle: Rounded Corners 86">
              <a:extLst>
                <a:ext uri="{FF2B5EF4-FFF2-40B4-BE49-F238E27FC236}">
                  <a16:creationId xmlns:a16="http://schemas.microsoft.com/office/drawing/2014/main" id="{215E2B00-ED00-4813-BEE1-6B244B841749}"/>
                </a:ext>
              </a:extLst>
            </p:cNvPr>
            <p:cNvSpPr/>
            <p:nvPr/>
          </p:nvSpPr>
          <p:spPr>
            <a:xfrm>
              <a:off x="2886908" y="305377"/>
              <a:ext cx="558236" cy="558236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00"/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0B2276C4-DB45-42DE-B1ED-C9D11DAF9A5A}"/>
                </a:ext>
              </a:extLst>
            </p:cNvPr>
            <p:cNvGrpSpPr/>
            <p:nvPr/>
          </p:nvGrpSpPr>
          <p:grpSpPr>
            <a:xfrm>
              <a:off x="2962178" y="336691"/>
              <a:ext cx="429026" cy="480008"/>
              <a:chOff x="4008324" y="451262"/>
              <a:chExt cx="581892" cy="651039"/>
            </a:xfrm>
          </p:grpSpPr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65" name="Rectangle: Rounded Corners 64">
                    <a:extLst>
                      <a:ext uri="{FF2B5EF4-FFF2-40B4-BE49-F238E27FC236}">
                        <a16:creationId xmlns:a16="http://schemas.microsoft.com/office/drawing/2014/main" id="{42D544FF-22E2-40E2-BF41-A26541550FDF}"/>
                      </a:ext>
                    </a:extLst>
                  </p:cNvPr>
                  <p:cNvSpPr/>
                  <p:nvPr/>
                </p:nvSpPr>
                <p:spPr>
                  <a:xfrm>
                    <a:off x="4008324" y="451262"/>
                    <a:ext cx="581892" cy="186545"/>
                  </a:xfrm>
                  <a:prstGeom prst="roundRect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it-IT" sz="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600" b="0" i="1" smtClean="0">
                                  <a:latin typeface="Cambria Math" panose="02040503050406030204" pitchFamily="18" charset="0"/>
                                </a:rPr>
                                <m:t>𝐷𝑎𝑡𝑎</m:t>
                              </m:r>
                            </m:e>
                            <m:sub>
                              <m:r>
                                <a:rPr lang="it-IT" sz="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oMath>
                      </m:oMathPara>
                    </a14:m>
                    <a:endParaRPr lang="it-IT" sz="600" dirty="0"/>
                  </a:p>
                </p:txBody>
              </p:sp>
            </mc:Choice>
            <mc:Fallback xmlns="">
              <p:sp>
                <p:nvSpPr>
                  <p:cNvPr id="65" name="Rectangle: Rounded Corners 64">
                    <a:extLst>
                      <a:ext uri="{FF2B5EF4-FFF2-40B4-BE49-F238E27FC236}">
                        <a16:creationId xmlns:a16="http://schemas.microsoft.com/office/drawing/2014/main" id="{42D544FF-22E2-40E2-BF41-A26541550FDF}"/>
                      </a:ext>
                    </a:extLst>
                  </p:cNvPr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4008324" y="451262"/>
                    <a:ext cx="581892" cy="186545"/>
                  </a:xfrm>
                  <a:prstGeom prst="roundRect">
                    <a:avLst/>
                  </a:prstGeom>
                  <a:blipFill>
                    <a:blip r:embed="rId6"/>
                    <a:stretch>
                      <a:fillRect b="-17647"/>
                    </a:stretch>
                  </a:blipFill>
                  <a:ln>
                    <a:noFill/>
                  </a:ln>
                </p:spPr>
                <p:txBody>
                  <a:bodyPr/>
                  <a:lstStyle/>
                  <a:p>
                    <a:r>
                      <a:rPr lang="it-IT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66" name="Rectangle: Rounded Corners 65">
                    <a:extLst>
                      <a:ext uri="{FF2B5EF4-FFF2-40B4-BE49-F238E27FC236}">
                        <a16:creationId xmlns:a16="http://schemas.microsoft.com/office/drawing/2014/main" id="{B2FB06E6-8503-40A9-A46D-9FF8F1979F62}"/>
                      </a:ext>
                    </a:extLst>
                  </p:cNvPr>
                  <p:cNvSpPr/>
                  <p:nvPr/>
                </p:nvSpPr>
                <p:spPr>
                  <a:xfrm>
                    <a:off x="4008324" y="683509"/>
                    <a:ext cx="581892" cy="186545"/>
                  </a:xfrm>
                  <a:prstGeom prst="roundRect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it-IT" sz="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600" b="0" i="1" smtClean="0">
                                  <a:latin typeface="Cambria Math" panose="02040503050406030204" pitchFamily="18" charset="0"/>
                                </a:rPr>
                                <m:t>𝐷𝑎𝑡𝑎</m:t>
                              </m:r>
                            </m:e>
                            <m:sub>
                              <m:r>
                                <a:rPr lang="it-IT" sz="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oMath>
                      </m:oMathPara>
                    </a14:m>
                    <a:endParaRPr lang="it-IT" sz="600" dirty="0"/>
                  </a:p>
                </p:txBody>
              </p:sp>
            </mc:Choice>
            <mc:Fallback xmlns="">
              <p:sp>
                <p:nvSpPr>
                  <p:cNvPr id="66" name="Rectangle: Rounded Corners 65">
                    <a:extLst>
                      <a:ext uri="{FF2B5EF4-FFF2-40B4-BE49-F238E27FC236}">
                        <a16:creationId xmlns:a16="http://schemas.microsoft.com/office/drawing/2014/main" id="{B2FB06E6-8503-40A9-A46D-9FF8F1979F62}"/>
                      </a:ext>
                    </a:extLst>
                  </p:cNvPr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4008324" y="683509"/>
                    <a:ext cx="581892" cy="186545"/>
                  </a:xfrm>
                  <a:prstGeom prst="roundRect">
                    <a:avLst/>
                  </a:prstGeom>
                  <a:blipFill>
                    <a:blip r:embed="rId7"/>
                    <a:stretch>
                      <a:fillRect b="-11765"/>
                    </a:stretch>
                  </a:blipFill>
                  <a:ln>
                    <a:noFill/>
                  </a:ln>
                </p:spPr>
                <p:txBody>
                  <a:bodyPr/>
                  <a:lstStyle/>
                  <a:p>
                    <a:r>
                      <a:rPr lang="it-IT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67" name="Rectangle: Rounded Corners 66">
                    <a:extLst>
                      <a:ext uri="{FF2B5EF4-FFF2-40B4-BE49-F238E27FC236}">
                        <a16:creationId xmlns:a16="http://schemas.microsoft.com/office/drawing/2014/main" id="{82273A9F-9C0A-442A-9189-CC024F3BB3B5}"/>
                      </a:ext>
                    </a:extLst>
                  </p:cNvPr>
                  <p:cNvSpPr/>
                  <p:nvPr/>
                </p:nvSpPr>
                <p:spPr>
                  <a:xfrm>
                    <a:off x="4008324" y="915756"/>
                    <a:ext cx="581892" cy="186545"/>
                  </a:xfrm>
                  <a:prstGeom prst="roundRect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it-IT" sz="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600" b="0" i="1" smtClean="0">
                                  <a:latin typeface="Cambria Math" panose="02040503050406030204" pitchFamily="18" charset="0"/>
                                </a:rPr>
                                <m:t>𝐷𝑎𝑡𝑎</m:t>
                              </m:r>
                            </m:e>
                            <m:sub>
                              <m:r>
                                <a:rPr lang="it-IT" sz="600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</m:oMath>
                      </m:oMathPara>
                    </a14:m>
                    <a:endParaRPr lang="it-IT" sz="600" dirty="0"/>
                  </a:p>
                </p:txBody>
              </p:sp>
            </mc:Choice>
            <mc:Fallback xmlns="">
              <p:sp>
                <p:nvSpPr>
                  <p:cNvPr id="67" name="Rectangle: Rounded Corners 66">
                    <a:extLst>
                      <a:ext uri="{FF2B5EF4-FFF2-40B4-BE49-F238E27FC236}">
                        <a16:creationId xmlns:a16="http://schemas.microsoft.com/office/drawing/2014/main" id="{82273A9F-9C0A-442A-9189-CC024F3BB3B5}"/>
                      </a:ext>
                    </a:extLst>
                  </p:cNvPr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4008324" y="915756"/>
                    <a:ext cx="581892" cy="186545"/>
                  </a:xfrm>
                  <a:prstGeom prst="roundRect">
                    <a:avLst/>
                  </a:prstGeom>
                  <a:blipFill>
                    <a:blip r:embed="rId8"/>
                    <a:stretch>
                      <a:fillRect b="-11765"/>
                    </a:stretch>
                  </a:blipFill>
                  <a:ln>
                    <a:noFill/>
                  </a:ln>
                </p:spPr>
                <p:txBody>
                  <a:bodyPr/>
                  <a:lstStyle/>
                  <a:p>
                    <a:r>
                      <a:rPr lang="it-IT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FDB8A949-3AD8-4D7E-B3B8-9AEF97DC1536}"/>
                </a:ext>
              </a:extLst>
            </p:cNvPr>
            <p:cNvSpPr/>
            <p:nvPr/>
          </p:nvSpPr>
          <p:spPr>
            <a:xfrm>
              <a:off x="3098169" y="1138594"/>
              <a:ext cx="67857" cy="6785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00"/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EDF85F42-B6F1-403A-887F-2B21134C5027}"/>
                </a:ext>
              </a:extLst>
            </p:cNvPr>
            <p:cNvSpPr/>
            <p:nvPr/>
          </p:nvSpPr>
          <p:spPr>
            <a:xfrm>
              <a:off x="3077568" y="1651160"/>
              <a:ext cx="67857" cy="6785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00"/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28648669-D4FA-4035-BF4B-94D8EFE9448F}"/>
                </a:ext>
              </a:extLst>
            </p:cNvPr>
            <p:cNvSpPr/>
            <p:nvPr/>
          </p:nvSpPr>
          <p:spPr>
            <a:xfrm>
              <a:off x="2952805" y="1756366"/>
              <a:ext cx="67857" cy="6785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00"/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3424F9C1-BC42-41EB-90A8-69C6FBFFC8A5}"/>
                </a:ext>
              </a:extLst>
            </p:cNvPr>
            <p:cNvSpPr/>
            <p:nvPr/>
          </p:nvSpPr>
          <p:spPr>
            <a:xfrm>
              <a:off x="3291516" y="1822394"/>
              <a:ext cx="67857" cy="6785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00"/>
            </a:p>
          </p:txBody>
        </p: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6C9FEC1A-32B2-4047-84A0-1AF7EDD368DA}"/>
                </a:ext>
              </a:extLst>
            </p:cNvPr>
            <p:cNvCxnSpPr>
              <a:cxnSpLocks/>
              <a:stCxn id="77" idx="7"/>
              <a:endCxn id="76" idx="3"/>
            </p:cNvCxnSpPr>
            <p:nvPr/>
          </p:nvCxnSpPr>
          <p:spPr>
            <a:xfrm flipV="1">
              <a:off x="3010725" y="1709080"/>
              <a:ext cx="76781" cy="57224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F46418B5-3BAA-4BE9-AE38-F0808EF1C157}"/>
                </a:ext>
              </a:extLst>
            </p:cNvPr>
            <p:cNvCxnSpPr>
              <a:stCxn id="76" idx="5"/>
              <a:endCxn id="78" idx="1"/>
            </p:cNvCxnSpPr>
            <p:nvPr/>
          </p:nvCxnSpPr>
          <p:spPr>
            <a:xfrm>
              <a:off x="3135488" y="1709080"/>
              <a:ext cx="165965" cy="123252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CD79C38C-13E6-4960-9ECA-5DD0B1AC8FF3}"/>
                </a:ext>
              </a:extLst>
            </p:cNvPr>
            <p:cNvSpPr/>
            <p:nvPr/>
          </p:nvSpPr>
          <p:spPr>
            <a:xfrm>
              <a:off x="3053576" y="2155331"/>
              <a:ext cx="67857" cy="6785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00"/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21FBB0BE-962C-40D6-AB2A-23574B525F49}"/>
                </a:ext>
              </a:extLst>
            </p:cNvPr>
            <p:cNvSpPr/>
            <p:nvPr/>
          </p:nvSpPr>
          <p:spPr>
            <a:xfrm>
              <a:off x="2928813" y="2260537"/>
              <a:ext cx="67857" cy="6785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00"/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2D05B6D2-F223-423B-8B66-10B770FC0412}"/>
                </a:ext>
              </a:extLst>
            </p:cNvPr>
            <p:cNvSpPr/>
            <p:nvPr/>
          </p:nvSpPr>
          <p:spPr>
            <a:xfrm>
              <a:off x="3267524" y="2326565"/>
              <a:ext cx="67857" cy="6785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00"/>
            </a:p>
          </p:txBody>
        </p: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D04382A7-957E-4E36-B585-4DDE9607DFB7}"/>
                </a:ext>
              </a:extLst>
            </p:cNvPr>
            <p:cNvCxnSpPr>
              <a:cxnSpLocks/>
              <a:stCxn id="72" idx="7"/>
              <a:endCxn id="71" idx="3"/>
            </p:cNvCxnSpPr>
            <p:nvPr/>
          </p:nvCxnSpPr>
          <p:spPr>
            <a:xfrm flipV="1">
              <a:off x="2986733" y="2213251"/>
              <a:ext cx="76781" cy="57224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8A6EEC6D-55C0-47B0-8F0F-D76A2CFBD97B}"/>
                </a:ext>
              </a:extLst>
            </p:cNvPr>
            <p:cNvCxnSpPr>
              <a:stCxn id="71" idx="5"/>
              <a:endCxn id="73" idx="1"/>
            </p:cNvCxnSpPr>
            <p:nvPr/>
          </p:nvCxnSpPr>
          <p:spPr>
            <a:xfrm>
              <a:off x="3111496" y="2213251"/>
              <a:ext cx="165965" cy="123252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174199F2-F6E2-4099-9329-1E699DAEE4D3}"/>
                </a:ext>
              </a:extLst>
            </p:cNvPr>
            <p:cNvSpPr/>
            <p:nvPr/>
          </p:nvSpPr>
          <p:spPr>
            <a:xfrm>
              <a:off x="3670471" y="1"/>
              <a:ext cx="1498657" cy="252818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it-IT" sz="9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ROCESSING</a:t>
              </a:r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82B5F49C-DBAB-4E76-B233-65DCCF6B4251}"/>
                </a:ext>
              </a:extLst>
            </p:cNvPr>
            <p:cNvSpPr/>
            <p:nvPr/>
          </p:nvSpPr>
          <p:spPr>
            <a:xfrm>
              <a:off x="3744000" y="58491"/>
              <a:ext cx="157983" cy="15798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3</a:t>
              </a:r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1982EBBB-F49B-4F03-8FEC-3DDD7858C634}"/>
                </a:ext>
              </a:extLst>
            </p:cNvPr>
            <p:cNvSpPr/>
            <p:nvPr/>
          </p:nvSpPr>
          <p:spPr>
            <a:xfrm>
              <a:off x="4425179" y="1138594"/>
              <a:ext cx="67857" cy="6785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00"/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377DF0ED-8E63-402A-B482-53DE114D4853}"/>
                </a:ext>
              </a:extLst>
            </p:cNvPr>
            <p:cNvSpPr/>
            <p:nvPr/>
          </p:nvSpPr>
          <p:spPr>
            <a:xfrm>
              <a:off x="4404578" y="1651160"/>
              <a:ext cx="67857" cy="6785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00"/>
            </a:p>
          </p:txBody>
        </p:sp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9167F10B-258D-4FB4-8791-F7DA8582C11C}"/>
                </a:ext>
              </a:extLst>
            </p:cNvPr>
            <p:cNvSpPr/>
            <p:nvPr/>
          </p:nvSpPr>
          <p:spPr>
            <a:xfrm>
              <a:off x="4279815" y="1756366"/>
              <a:ext cx="67857" cy="6785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00"/>
            </a:p>
          </p:txBody>
        </p:sp>
        <p:sp>
          <p:nvSpPr>
            <p:cNvPr id="104" name="Oval 103">
              <a:extLst>
                <a:ext uri="{FF2B5EF4-FFF2-40B4-BE49-F238E27FC236}">
                  <a16:creationId xmlns:a16="http://schemas.microsoft.com/office/drawing/2014/main" id="{6CBB7A6A-3DF1-47FC-82D5-D26DFDFD3639}"/>
                </a:ext>
              </a:extLst>
            </p:cNvPr>
            <p:cNvSpPr/>
            <p:nvPr/>
          </p:nvSpPr>
          <p:spPr>
            <a:xfrm>
              <a:off x="4618526" y="1822394"/>
              <a:ext cx="67857" cy="6785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00"/>
            </a:p>
          </p:txBody>
        </p: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86BED045-BD3B-4091-ABB2-7511BF9C9509}"/>
                </a:ext>
              </a:extLst>
            </p:cNvPr>
            <p:cNvCxnSpPr>
              <a:cxnSpLocks/>
              <a:stCxn id="103" idx="7"/>
              <a:endCxn id="102" idx="3"/>
            </p:cNvCxnSpPr>
            <p:nvPr/>
          </p:nvCxnSpPr>
          <p:spPr>
            <a:xfrm flipV="1">
              <a:off x="4337735" y="1709080"/>
              <a:ext cx="76781" cy="57224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83B41827-4267-4687-948E-72613A2F4E75}"/>
                </a:ext>
              </a:extLst>
            </p:cNvPr>
            <p:cNvCxnSpPr>
              <a:stCxn id="102" idx="5"/>
              <a:endCxn id="104" idx="1"/>
            </p:cNvCxnSpPr>
            <p:nvPr/>
          </p:nvCxnSpPr>
          <p:spPr>
            <a:xfrm>
              <a:off x="4462498" y="1709080"/>
              <a:ext cx="165965" cy="123252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1824D31B-728E-4EE8-90D3-4DCC371F3AC4}"/>
                </a:ext>
              </a:extLst>
            </p:cNvPr>
            <p:cNvSpPr/>
            <p:nvPr/>
          </p:nvSpPr>
          <p:spPr>
            <a:xfrm>
              <a:off x="4380586" y="2155331"/>
              <a:ext cx="67857" cy="6785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00"/>
            </a:p>
          </p:txBody>
        </p:sp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ABDB1342-0B06-45BE-8EC6-4973EB389812}"/>
                </a:ext>
              </a:extLst>
            </p:cNvPr>
            <p:cNvSpPr/>
            <p:nvPr/>
          </p:nvSpPr>
          <p:spPr>
            <a:xfrm>
              <a:off x="4255823" y="2260537"/>
              <a:ext cx="67857" cy="6785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00"/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6727BC71-3118-4C4C-B065-3D4E68F72935}"/>
                </a:ext>
              </a:extLst>
            </p:cNvPr>
            <p:cNvSpPr/>
            <p:nvPr/>
          </p:nvSpPr>
          <p:spPr>
            <a:xfrm>
              <a:off x="4594534" y="2326565"/>
              <a:ext cx="67857" cy="6785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00"/>
            </a:p>
          </p:txBody>
        </p: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28754F37-EE3D-4F74-9213-61B9BBD6605E}"/>
                </a:ext>
              </a:extLst>
            </p:cNvPr>
            <p:cNvCxnSpPr>
              <a:cxnSpLocks/>
              <a:stCxn id="98" idx="7"/>
              <a:endCxn id="97" idx="3"/>
            </p:cNvCxnSpPr>
            <p:nvPr/>
          </p:nvCxnSpPr>
          <p:spPr>
            <a:xfrm flipV="1">
              <a:off x="4313743" y="2213251"/>
              <a:ext cx="76781" cy="57224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B8D80670-CF7D-4C52-952C-7CDE213614FD}"/>
                </a:ext>
              </a:extLst>
            </p:cNvPr>
            <p:cNvCxnSpPr>
              <a:stCxn id="97" idx="5"/>
              <a:endCxn id="99" idx="1"/>
            </p:cNvCxnSpPr>
            <p:nvPr/>
          </p:nvCxnSpPr>
          <p:spPr>
            <a:xfrm>
              <a:off x="4438506" y="2213251"/>
              <a:ext cx="165965" cy="123252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" name="Arrow: Curved Down 109">
              <a:extLst>
                <a:ext uri="{FF2B5EF4-FFF2-40B4-BE49-F238E27FC236}">
                  <a16:creationId xmlns:a16="http://schemas.microsoft.com/office/drawing/2014/main" id="{4B055526-851D-4ABB-82C4-92D62DB77184}"/>
                </a:ext>
              </a:extLst>
            </p:cNvPr>
            <p:cNvSpPr/>
            <p:nvPr/>
          </p:nvSpPr>
          <p:spPr>
            <a:xfrm rot="18728498">
              <a:off x="4139865" y="388997"/>
              <a:ext cx="555650" cy="240403"/>
            </a:xfrm>
            <a:prstGeom prst="curved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00">
                <a:solidFill>
                  <a:schemeClr val="tx1"/>
                </a:solidFill>
              </a:endParaRPr>
            </a:p>
          </p:txBody>
        </p:sp>
        <p:sp>
          <p:nvSpPr>
            <p:cNvPr id="111" name="Arrow: Curved Down 110">
              <a:extLst>
                <a:ext uri="{FF2B5EF4-FFF2-40B4-BE49-F238E27FC236}">
                  <a16:creationId xmlns:a16="http://schemas.microsoft.com/office/drawing/2014/main" id="{D67248CD-415E-4997-AA4E-C8AE8C862B17}"/>
                </a:ext>
              </a:extLst>
            </p:cNvPr>
            <p:cNvSpPr/>
            <p:nvPr/>
          </p:nvSpPr>
          <p:spPr>
            <a:xfrm rot="7928498">
              <a:off x="4311887" y="597565"/>
              <a:ext cx="555650" cy="240403"/>
            </a:xfrm>
            <a:prstGeom prst="curved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00">
                <a:solidFill>
                  <a:schemeClr val="tx1"/>
                </a:solidFill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C2A794B5-993D-4253-B2B4-C71C33119A54}"/>
                </a:ext>
              </a:extLst>
            </p:cNvPr>
            <p:cNvSpPr/>
            <p:nvPr/>
          </p:nvSpPr>
          <p:spPr>
            <a:xfrm>
              <a:off x="5156175" y="1"/>
              <a:ext cx="1330854" cy="252818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it-IT" sz="9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UTPUT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87D489D7-48C8-4264-ACA6-59544DFA8C58}"/>
                </a:ext>
              </a:extLst>
            </p:cNvPr>
            <p:cNvCxnSpPr>
              <a:cxnSpLocks/>
            </p:cNvCxnSpPr>
            <p:nvPr/>
          </p:nvCxnSpPr>
          <p:spPr>
            <a:xfrm>
              <a:off x="1174274" y="998141"/>
              <a:ext cx="6654271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EA46695E-664B-4CCF-B0FD-38D7A752E55F}"/>
                </a:ext>
              </a:extLst>
            </p:cNvPr>
            <p:cNvCxnSpPr>
              <a:cxnSpLocks/>
            </p:cNvCxnSpPr>
            <p:nvPr/>
          </p:nvCxnSpPr>
          <p:spPr>
            <a:xfrm>
              <a:off x="1174274" y="1508156"/>
              <a:ext cx="6654271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5EC3046-6960-4629-B23E-AD5DD91B1E5B}"/>
                </a:ext>
              </a:extLst>
            </p:cNvPr>
            <p:cNvCxnSpPr>
              <a:cxnSpLocks/>
            </p:cNvCxnSpPr>
            <p:nvPr/>
          </p:nvCxnSpPr>
          <p:spPr>
            <a:xfrm>
              <a:off x="1174274" y="2018170"/>
              <a:ext cx="6654271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9943B3EB-E2C5-475A-990E-5E1DB084B1A7}"/>
                </a:ext>
              </a:extLst>
            </p:cNvPr>
            <p:cNvSpPr/>
            <p:nvPr/>
          </p:nvSpPr>
          <p:spPr>
            <a:xfrm>
              <a:off x="5288842" y="58643"/>
              <a:ext cx="157983" cy="15798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4</a:t>
              </a:r>
            </a:p>
          </p:txBody>
        </p:sp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D3BFC29D-D3E8-4C5B-A958-0658563574F3}"/>
                </a:ext>
              </a:extLst>
            </p:cNvPr>
            <p:cNvSpPr/>
            <p:nvPr/>
          </p:nvSpPr>
          <p:spPr>
            <a:xfrm>
              <a:off x="5743080" y="1138596"/>
              <a:ext cx="67857" cy="6785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00"/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7EB2FAEB-7273-49FB-9C5F-D3876B540571}"/>
                </a:ext>
              </a:extLst>
            </p:cNvPr>
            <p:cNvGrpSpPr/>
            <p:nvPr/>
          </p:nvGrpSpPr>
          <p:grpSpPr>
            <a:xfrm>
              <a:off x="5597716" y="1651160"/>
              <a:ext cx="406568" cy="239091"/>
              <a:chOff x="870283" y="2044199"/>
              <a:chExt cx="744917" cy="438065"/>
            </a:xfrm>
          </p:grpSpPr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42404717-7EBA-4BCC-93D2-08829F4A9E5C}"/>
                  </a:ext>
                </a:extLst>
              </p:cNvPr>
              <p:cNvSpPr/>
              <p:nvPr/>
            </p:nvSpPr>
            <p:spPr>
              <a:xfrm>
                <a:off x="1098875" y="2044199"/>
                <a:ext cx="124328" cy="12432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sz="900"/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1E953A95-1070-4C42-ABEC-B63679BD600B}"/>
                  </a:ext>
                </a:extLst>
              </p:cNvPr>
              <p:cNvSpPr/>
              <p:nvPr/>
            </p:nvSpPr>
            <p:spPr>
              <a:xfrm>
                <a:off x="870283" y="2236959"/>
                <a:ext cx="124328" cy="12432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sz="900"/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3507252D-D59F-414B-9662-13A931941445}"/>
                  </a:ext>
                </a:extLst>
              </p:cNvPr>
              <p:cNvSpPr/>
              <p:nvPr/>
            </p:nvSpPr>
            <p:spPr>
              <a:xfrm>
                <a:off x="1490872" y="2357936"/>
                <a:ext cx="124328" cy="12432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sz="900"/>
              </a:p>
            </p:txBody>
          </p: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67986E39-E428-4C5D-ABF2-379EFEF30100}"/>
                  </a:ext>
                </a:extLst>
              </p:cNvPr>
              <p:cNvCxnSpPr>
                <a:cxnSpLocks/>
                <a:stCxn id="129" idx="7"/>
                <a:endCxn id="128" idx="3"/>
              </p:cNvCxnSpPr>
              <p:nvPr/>
            </p:nvCxnSpPr>
            <p:spPr>
              <a:xfrm flipV="1">
                <a:off x="976404" y="2150320"/>
                <a:ext cx="140678" cy="104846"/>
              </a:xfrm>
              <a:prstGeom prst="line">
                <a:avLst/>
              </a:prstGeom>
              <a:ln w="1905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69763DE1-75E9-4140-BB09-23E9AB360EE5}"/>
                  </a:ext>
                </a:extLst>
              </p:cNvPr>
              <p:cNvCxnSpPr>
                <a:stCxn id="128" idx="5"/>
                <a:endCxn id="130" idx="1"/>
              </p:cNvCxnSpPr>
              <p:nvPr/>
            </p:nvCxnSpPr>
            <p:spPr>
              <a:xfrm>
                <a:off x="1204996" y="2150320"/>
                <a:ext cx="304083" cy="225823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39E4A14F-4C84-413E-8FF0-FF0BF5556FC2}"/>
                </a:ext>
              </a:extLst>
            </p:cNvPr>
            <p:cNvGrpSpPr/>
            <p:nvPr/>
          </p:nvGrpSpPr>
          <p:grpSpPr>
            <a:xfrm>
              <a:off x="5573724" y="2155331"/>
              <a:ext cx="406568" cy="239091"/>
              <a:chOff x="870283" y="2044199"/>
              <a:chExt cx="744917" cy="438065"/>
            </a:xfrm>
          </p:grpSpPr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6E1B64FD-E397-414E-931B-B8BBC8906D67}"/>
                  </a:ext>
                </a:extLst>
              </p:cNvPr>
              <p:cNvSpPr/>
              <p:nvPr/>
            </p:nvSpPr>
            <p:spPr>
              <a:xfrm>
                <a:off x="1098875" y="2044199"/>
                <a:ext cx="124328" cy="12432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sz="900"/>
              </a:p>
            </p:txBody>
          </p:sp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BB54711C-5AAA-48F8-BA9B-843538239A7F}"/>
                  </a:ext>
                </a:extLst>
              </p:cNvPr>
              <p:cNvSpPr/>
              <p:nvPr/>
            </p:nvSpPr>
            <p:spPr>
              <a:xfrm>
                <a:off x="870283" y="2236959"/>
                <a:ext cx="124328" cy="12432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sz="900"/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D0B511BA-B731-47F8-AF97-AC2F61742AF7}"/>
                  </a:ext>
                </a:extLst>
              </p:cNvPr>
              <p:cNvSpPr/>
              <p:nvPr/>
            </p:nvSpPr>
            <p:spPr>
              <a:xfrm>
                <a:off x="1490872" y="2357936"/>
                <a:ext cx="124328" cy="12432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sz="900"/>
              </a:p>
            </p:txBody>
          </p: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C8E3E19B-7E3D-4C0E-A51C-0465A8D487D6}"/>
                  </a:ext>
                </a:extLst>
              </p:cNvPr>
              <p:cNvCxnSpPr>
                <a:cxnSpLocks/>
                <a:stCxn id="124" idx="7"/>
                <a:endCxn id="123" idx="3"/>
              </p:cNvCxnSpPr>
              <p:nvPr/>
            </p:nvCxnSpPr>
            <p:spPr>
              <a:xfrm flipV="1">
                <a:off x="976404" y="2150320"/>
                <a:ext cx="140678" cy="104846"/>
              </a:xfrm>
              <a:prstGeom prst="line">
                <a:avLst/>
              </a:prstGeom>
              <a:ln w="1905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B71D823B-3BDC-48E8-B98D-7E1CC857EEE2}"/>
                  </a:ext>
                </a:extLst>
              </p:cNvPr>
              <p:cNvCxnSpPr>
                <a:stCxn id="123" idx="5"/>
                <a:endCxn id="125" idx="1"/>
              </p:cNvCxnSpPr>
              <p:nvPr/>
            </p:nvCxnSpPr>
            <p:spPr>
              <a:xfrm>
                <a:off x="1204996" y="2150320"/>
                <a:ext cx="304083" cy="225823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9" name="Rectangle: Rounded Corners 138">
              <a:extLst>
                <a:ext uri="{FF2B5EF4-FFF2-40B4-BE49-F238E27FC236}">
                  <a16:creationId xmlns:a16="http://schemas.microsoft.com/office/drawing/2014/main" id="{C7A9F29E-E1EE-4BB4-918F-171F80754B77}"/>
                </a:ext>
              </a:extLst>
            </p:cNvPr>
            <p:cNvSpPr/>
            <p:nvPr/>
          </p:nvSpPr>
          <p:spPr>
            <a:xfrm rot="16200000">
              <a:off x="5570828" y="305377"/>
              <a:ext cx="558236" cy="558236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0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1" name="Rectangle: Rounded Corners 140">
                  <a:extLst>
                    <a:ext uri="{FF2B5EF4-FFF2-40B4-BE49-F238E27FC236}">
                      <a16:creationId xmlns:a16="http://schemas.microsoft.com/office/drawing/2014/main" id="{F0292301-AE5D-4956-B81B-E58713D35015}"/>
                    </a:ext>
                  </a:extLst>
                </p:cNvPr>
                <p:cNvSpPr/>
                <p:nvPr/>
              </p:nvSpPr>
              <p:spPr>
                <a:xfrm rot="16200000">
                  <a:off x="5445301" y="515726"/>
                  <a:ext cx="451224" cy="137539"/>
                </a:xfrm>
                <a:prstGeom prst="round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it-IT" sz="6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sz="600" b="0" i="1" smtClean="0">
                                <a:latin typeface="Cambria Math" panose="02040503050406030204" pitchFamily="18" charset="0"/>
                              </a:rPr>
                              <m:t>𝐷𝑎𝑡𝑎</m:t>
                            </m:r>
                          </m:e>
                          <m:sub>
                            <m:r>
                              <a:rPr lang="it-IT" sz="600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</m:oMath>
                    </m:oMathPara>
                  </a14:m>
                  <a:endParaRPr lang="it-IT" sz="600" dirty="0"/>
                </a:p>
              </p:txBody>
            </p:sp>
          </mc:Choice>
          <mc:Fallback xmlns="">
            <p:sp>
              <p:nvSpPr>
                <p:cNvPr id="141" name="Rectangle: Rounded Corners 140">
                  <a:extLst>
                    <a:ext uri="{FF2B5EF4-FFF2-40B4-BE49-F238E27FC236}">
                      <a16:creationId xmlns:a16="http://schemas.microsoft.com/office/drawing/2014/main" id="{F0292301-AE5D-4956-B81B-E58713D35015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16200000">
                  <a:off x="5445301" y="515726"/>
                  <a:ext cx="451224" cy="137539"/>
                </a:xfrm>
                <a:prstGeom prst="roundRect">
                  <a:avLst/>
                </a:prstGeom>
                <a:blipFill>
                  <a:blip r:embed="rId9"/>
                  <a:stretch>
                    <a:fillRect r="-17647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it-IT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2" name="Rectangle: Rounded Corners 141">
                  <a:extLst>
                    <a:ext uri="{FF2B5EF4-FFF2-40B4-BE49-F238E27FC236}">
                      <a16:creationId xmlns:a16="http://schemas.microsoft.com/office/drawing/2014/main" id="{23D25589-5D78-4347-8514-181E1F4E3BEA}"/>
                    </a:ext>
                  </a:extLst>
                </p:cNvPr>
                <p:cNvSpPr/>
                <p:nvPr/>
              </p:nvSpPr>
              <p:spPr>
                <a:xfrm rot="16200000">
                  <a:off x="5616537" y="515726"/>
                  <a:ext cx="451224" cy="137539"/>
                </a:xfrm>
                <a:prstGeom prst="round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it-IT" sz="6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sz="600" b="0" i="1" smtClean="0">
                                <a:latin typeface="Cambria Math" panose="02040503050406030204" pitchFamily="18" charset="0"/>
                              </a:rPr>
                              <m:t>𝐷𝑎𝑡𝑎</m:t>
                            </m:r>
                          </m:e>
                          <m:sub>
                            <m:r>
                              <a:rPr lang="it-IT" sz="600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  <m:r>
                              <a:rPr lang="it-IT" sz="600" b="0" i="1" smtClean="0">
                                <a:latin typeface="Cambria Math" panose="02040503050406030204" pitchFamily="18" charset="0"/>
                              </a:rPr>
                              <m:t>+1</m:t>
                            </m:r>
                          </m:sub>
                        </m:sSub>
                      </m:oMath>
                    </m:oMathPara>
                  </a14:m>
                  <a:endParaRPr lang="it-IT" sz="600" dirty="0"/>
                </a:p>
              </p:txBody>
            </p:sp>
          </mc:Choice>
          <mc:Fallback xmlns="">
            <p:sp>
              <p:nvSpPr>
                <p:cNvPr id="142" name="Rectangle: Rounded Corners 141">
                  <a:extLst>
                    <a:ext uri="{FF2B5EF4-FFF2-40B4-BE49-F238E27FC236}">
                      <a16:creationId xmlns:a16="http://schemas.microsoft.com/office/drawing/2014/main" id="{23D25589-5D78-4347-8514-181E1F4E3BEA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16200000">
                  <a:off x="5616537" y="515726"/>
                  <a:ext cx="451224" cy="137539"/>
                </a:xfrm>
                <a:prstGeom prst="roundRect">
                  <a:avLst/>
                </a:prstGeom>
                <a:blipFill>
                  <a:blip r:embed="rId10"/>
                  <a:stretch>
                    <a:fillRect r="-16667" b="-1754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it-IT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3" name="Rectangle: Rounded Corners 142">
                  <a:extLst>
                    <a:ext uri="{FF2B5EF4-FFF2-40B4-BE49-F238E27FC236}">
                      <a16:creationId xmlns:a16="http://schemas.microsoft.com/office/drawing/2014/main" id="{CDAC62FC-9704-4B62-853C-9619C184CE5C}"/>
                    </a:ext>
                  </a:extLst>
                </p:cNvPr>
                <p:cNvSpPr/>
                <p:nvPr/>
              </p:nvSpPr>
              <p:spPr>
                <a:xfrm rot="16200000">
                  <a:off x="5787772" y="515727"/>
                  <a:ext cx="451224" cy="137539"/>
                </a:xfrm>
                <a:prstGeom prst="round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it-IT" sz="6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it-IT" sz="600" b="0" i="1" smtClean="0">
                                <a:latin typeface="Cambria Math" panose="02040503050406030204" pitchFamily="18" charset="0"/>
                              </a:rPr>
                              <m:t>𝐷𝑎𝑡𝑎</m:t>
                            </m:r>
                          </m:e>
                          <m:sub>
                            <m:r>
                              <a:rPr lang="it-IT" sz="600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  <m:r>
                              <a:rPr lang="it-IT" sz="600" b="0" i="1" smtClean="0">
                                <a:latin typeface="Cambria Math" panose="02040503050406030204" pitchFamily="18" charset="0"/>
                              </a:rPr>
                              <m:t>+2</m:t>
                            </m:r>
                          </m:sub>
                        </m:sSub>
                      </m:oMath>
                    </m:oMathPara>
                  </a14:m>
                  <a:endParaRPr lang="it-IT" sz="600" dirty="0"/>
                </a:p>
              </p:txBody>
            </p:sp>
          </mc:Choice>
          <mc:Fallback xmlns="">
            <p:sp>
              <p:nvSpPr>
                <p:cNvPr id="143" name="Rectangle: Rounded Corners 142">
                  <a:extLst>
                    <a:ext uri="{FF2B5EF4-FFF2-40B4-BE49-F238E27FC236}">
                      <a16:creationId xmlns:a16="http://schemas.microsoft.com/office/drawing/2014/main" id="{CDAC62FC-9704-4B62-853C-9619C184CE5C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 rot="16200000">
                  <a:off x="5787772" y="515727"/>
                  <a:ext cx="451224" cy="137539"/>
                </a:xfrm>
                <a:prstGeom prst="roundRect">
                  <a:avLst/>
                </a:prstGeom>
                <a:blipFill>
                  <a:blip r:embed="rId11"/>
                  <a:stretch>
                    <a:fillRect r="-16667" b="-1754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it-IT">
                      <a:noFill/>
                    </a:rPr>
                    <a:t> </a:t>
                  </a:r>
                </a:p>
              </p:txBody>
            </p:sp>
          </mc:Fallback>
        </mc:AlternateContent>
        <p:pic>
          <p:nvPicPr>
            <p:cNvPr id="11" name="Graphic 10" descr="User with solid fill">
              <a:extLst>
                <a:ext uri="{FF2B5EF4-FFF2-40B4-BE49-F238E27FC236}">
                  <a16:creationId xmlns:a16="http://schemas.microsoft.com/office/drawing/2014/main" id="{8B80F2B6-7434-48AF-9E6D-76EDB2BDD4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995950" y="1583323"/>
              <a:ext cx="349638" cy="349638"/>
            </a:xfrm>
            <a:prstGeom prst="rect">
              <a:avLst/>
            </a:prstGeom>
          </p:spPr>
        </p:pic>
        <p:pic>
          <p:nvPicPr>
            <p:cNvPr id="144" name="Graphic 143" descr="User with solid fill">
              <a:extLst>
                <a:ext uri="{FF2B5EF4-FFF2-40B4-BE49-F238E27FC236}">
                  <a16:creationId xmlns:a16="http://schemas.microsoft.com/office/drawing/2014/main" id="{C8FF1444-8FA8-4542-9F34-9AC869AC67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174274" y="2654417"/>
              <a:ext cx="349638" cy="349638"/>
            </a:xfrm>
            <a:prstGeom prst="rect">
              <a:avLst/>
            </a:prstGeom>
          </p:spPr>
        </p:pic>
        <p:pic>
          <p:nvPicPr>
            <p:cNvPr id="14" name="Graphic 13" descr="Users with solid fill">
              <a:extLst>
                <a:ext uri="{FF2B5EF4-FFF2-40B4-BE49-F238E27FC236}">
                  <a16:creationId xmlns:a16="http://schemas.microsoft.com/office/drawing/2014/main" id="{C1DB3445-90DC-4234-A6A3-E0D3486DBED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971699" y="2039426"/>
              <a:ext cx="398139" cy="398139"/>
            </a:xfrm>
            <a:prstGeom prst="rect">
              <a:avLst/>
            </a:prstGeom>
          </p:spPr>
        </p:pic>
        <p:pic>
          <p:nvPicPr>
            <p:cNvPr id="145" name="Graphic 144" descr="Users with solid fill">
              <a:extLst>
                <a:ext uri="{FF2B5EF4-FFF2-40B4-BE49-F238E27FC236}">
                  <a16:creationId xmlns:a16="http://schemas.microsoft.com/office/drawing/2014/main" id="{92DA4761-6808-4E4D-B009-2522A61408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2687665" y="2630166"/>
              <a:ext cx="398139" cy="398139"/>
            </a:xfrm>
            <a:prstGeom prst="rect">
              <a:avLst/>
            </a:prstGeom>
          </p:spPr>
        </p:pic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7D0B4104-4018-45C9-B27A-1DE2D770B02B}"/>
                </a:ext>
              </a:extLst>
            </p:cNvPr>
            <p:cNvSpPr/>
            <p:nvPr/>
          </p:nvSpPr>
          <p:spPr>
            <a:xfrm>
              <a:off x="5694859" y="2709690"/>
              <a:ext cx="67857" cy="6785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00"/>
            </a:p>
          </p:txBody>
        </p: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8245BBB3-1048-4F06-B600-19D200A09AE3}"/>
                </a:ext>
              </a:extLst>
            </p:cNvPr>
            <p:cNvSpPr/>
            <p:nvPr/>
          </p:nvSpPr>
          <p:spPr>
            <a:xfrm>
              <a:off x="5570096" y="2814896"/>
              <a:ext cx="67857" cy="6785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00"/>
            </a:p>
          </p:txBody>
        </p: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1FAF5C7E-3B79-4935-AD2A-D09005688858}"/>
                </a:ext>
              </a:extLst>
            </p:cNvPr>
            <p:cNvSpPr/>
            <p:nvPr/>
          </p:nvSpPr>
          <p:spPr>
            <a:xfrm>
              <a:off x="5908807" y="2880924"/>
              <a:ext cx="67857" cy="6785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00"/>
            </a:p>
          </p:txBody>
        </p: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6691BEC7-A53B-4111-8636-BB1A4DBA8F7B}"/>
                </a:ext>
              </a:extLst>
            </p:cNvPr>
            <p:cNvCxnSpPr>
              <a:cxnSpLocks/>
              <a:stCxn id="148" idx="7"/>
              <a:endCxn id="147" idx="3"/>
            </p:cNvCxnSpPr>
            <p:nvPr/>
          </p:nvCxnSpPr>
          <p:spPr>
            <a:xfrm flipV="1">
              <a:off x="5628016" y="2767610"/>
              <a:ext cx="76781" cy="57224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F057FEE1-80B6-4AD1-8263-289765C347A1}"/>
                </a:ext>
              </a:extLst>
            </p:cNvPr>
            <p:cNvCxnSpPr>
              <a:stCxn id="147" idx="5"/>
              <a:endCxn id="149" idx="1"/>
            </p:cNvCxnSpPr>
            <p:nvPr/>
          </p:nvCxnSpPr>
          <p:spPr>
            <a:xfrm>
              <a:off x="5752779" y="2767610"/>
              <a:ext cx="165965" cy="123252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D448556C-7306-4AF1-821A-29BF8A84011C}"/>
                </a:ext>
              </a:extLst>
            </p:cNvPr>
            <p:cNvSpPr/>
            <p:nvPr/>
          </p:nvSpPr>
          <p:spPr>
            <a:xfrm>
              <a:off x="4377139" y="2795307"/>
              <a:ext cx="67857" cy="6785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00"/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D685DD1B-43A6-46D7-AADA-63F782373778}"/>
                </a:ext>
              </a:extLst>
            </p:cNvPr>
            <p:cNvSpPr txBox="1"/>
            <p:nvPr/>
          </p:nvSpPr>
          <p:spPr>
            <a:xfrm rot="10800000" flipV="1">
              <a:off x="1505287" y="2591460"/>
              <a:ext cx="1162507" cy="4755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9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ingle </a:t>
              </a:r>
              <a:r>
                <a:rPr lang="it-IT" sz="900" b="1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entity</a:t>
              </a:r>
              <a:r>
                <a:rPr lang="it-IT" sz="9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control</a:t>
              </a: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B9376643-A11C-4C1B-BFFA-3ADF6A3BA75A}"/>
                </a:ext>
              </a:extLst>
            </p:cNvPr>
            <p:cNvSpPr txBox="1"/>
            <p:nvPr/>
          </p:nvSpPr>
          <p:spPr>
            <a:xfrm rot="10800000" flipV="1">
              <a:off x="3100171" y="2591460"/>
              <a:ext cx="1233885" cy="4755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9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Multiple </a:t>
              </a:r>
              <a:r>
                <a:rPr lang="it-IT" sz="900" b="1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entity</a:t>
              </a:r>
              <a:r>
                <a:rPr lang="it-IT" sz="9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control</a:t>
              </a: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F8DAE7FE-E5D6-4EF0-B6C6-7E536F4D06FC}"/>
                </a:ext>
              </a:extLst>
            </p:cNvPr>
            <p:cNvSpPr txBox="1"/>
            <p:nvPr/>
          </p:nvSpPr>
          <p:spPr>
            <a:xfrm rot="10800000" flipV="1">
              <a:off x="4411067" y="2680627"/>
              <a:ext cx="1233885" cy="29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9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ingle </a:t>
              </a:r>
              <a:r>
                <a:rPr lang="it-IT" sz="900" b="1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node</a:t>
              </a:r>
              <a:endParaRPr lang="it-IT" sz="9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87FF7E10-8938-4C9F-A746-AA1617C281EC}"/>
                </a:ext>
              </a:extLst>
            </p:cNvPr>
            <p:cNvSpPr txBox="1"/>
            <p:nvPr/>
          </p:nvSpPr>
          <p:spPr>
            <a:xfrm rot="10800000" flipV="1">
              <a:off x="5953438" y="2680627"/>
              <a:ext cx="1233885" cy="29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9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Multiple </a:t>
              </a:r>
              <a:r>
                <a:rPr lang="it-IT" sz="900" b="1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nodes</a:t>
              </a:r>
              <a:endParaRPr lang="it-IT" sz="9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157" name="Graphic 156" descr="User with solid fill">
              <a:extLst>
                <a:ext uri="{FF2B5EF4-FFF2-40B4-BE49-F238E27FC236}">
                  <a16:creationId xmlns:a16="http://schemas.microsoft.com/office/drawing/2014/main" id="{54DD5DB7-57C9-41DF-B692-F9FE2FB408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995950" y="1021254"/>
              <a:ext cx="349638" cy="3496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64616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8" name="Group 377">
            <a:extLst>
              <a:ext uri="{FF2B5EF4-FFF2-40B4-BE49-F238E27FC236}">
                <a16:creationId xmlns:a16="http://schemas.microsoft.com/office/drawing/2014/main" id="{58E76FB4-D432-4587-B364-7E12FE4831AE}"/>
              </a:ext>
            </a:extLst>
          </p:cNvPr>
          <p:cNvGrpSpPr/>
          <p:nvPr/>
        </p:nvGrpSpPr>
        <p:grpSpPr>
          <a:xfrm>
            <a:off x="586639" y="555355"/>
            <a:ext cx="4017299" cy="2873645"/>
            <a:chOff x="586639" y="555355"/>
            <a:chExt cx="4017299" cy="2873645"/>
          </a:xfrm>
        </p:grpSpPr>
        <p:grpSp>
          <p:nvGrpSpPr>
            <p:cNvPr id="268" name="Group 267">
              <a:extLst>
                <a:ext uri="{FF2B5EF4-FFF2-40B4-BE49-F238E27FC236}">
                  <a16:creationId xmlns:a16="http://schemas.microsoft.com/office/drawing/2014/main" id="{54A81B9F-AB71-4C63-878F-07E1822CFF78}"/>
                </a:ext>
              </a:extLst>
            </p:cNvPr>
            <p:cNvGrpSpPr/>
            <p:nvPr/>
          </p:nvGrpSpPr>
          <p:grpSpPr>
            <a:xfrm>
              <a:off x="586639" y="555355"/>
              <a:ext cx="1192119" cy="2466366"/>
              <a:chOff x="586639" y="555355"/>
              <a:chExt cx="1192119" cy="2466366"/>
            </a:xfrm>
          </p:grpSpPr>
          <p:grpSp>
            <p:nvGrpSpPr>
              <p:cNvPr id="263" name="Group 262">
                <a:extLst>
                  <a:ext uri="{FF2B5EF4-FFF2-40B4-BE49-F238E27FC236}">
                    <a16:creationId xmlns:a16="http://schemas.microsoft.com/office/drawing/2014/main" id="{E69240F3-DF19-46DB-AC8A-781A4F86E217}"/>
                  </a:ext>
                </a:extLst>
              </p:cNvPr>
              <p:cNvGrpSpPr/>
              <p:nvPr/>
            </p:nvGrpSpPr>
            <p:grpSpPr>
              <a:xfrm>
                <a:off x="676287" y="555355"/>
                <a:ext cx="802355" cy="416720"/>
                <a:chOff x="676287" y="555355"/>
                <a:chExt cx="802355" cy="416720"/>
              </a:xfrm>
            </p:grpSpPr>
            <p:sp>
              <p:nvSpPr>
                <p:cNvPr id="107" name="Oval 106">
                  <a:extLst>
                    <a:ext uri="{FF2B5EF4-FFF2-40B4-BE49-F238E27FC236}">
                      <a16:creationId xmlns:a16="http://schemas.microsoft.com/office/drawing/2014/main" id="{6A90BCDD-7750-45BC-8736-EFA683CE5ED2}"/>
                    </a:ext>
                  </a:extLst>
                </p:cNvPr>
                <p:cNvSpPr/>
                <p:nvPr/>
              </p:nvSpPr>
              <p:spPr>
                <a:xfrm>
                  <a:off x="1096981" y="591772"/>
                  <a:ext cx="36417" cy="36417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08" name="Oval 107">
                  <a:extLst>
                    <a:ext uri="{FF2B5EF4-FFF2-40B4-BE49-F238E27FC236}">
                      <a16:creationId xmlns:a16="http://schemas.microsoft.com/office/drawing/2014/main" id="{49BD3705-1501-4874-B659-F9A2D46377B6}"/>
                    </a:ext>
                  </a:extLst>
                </p:cNvPr>
                <p:cNvSpPr/>
                <p:nvPr/>
              </p:nvSpPr>
              <p:spPr>
                <a:xfrm>
                  <a:off x="1235202" y="677338"/>
                  <a:ext cx="36417" cy="36417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09" name="Oval 108">
                  <a:extLst>
                    <a:ext uri="{FF2B5EF4-FFF2-40B4-BE49-F238E27FC236}">
                      <a16:creationId xmlns:a16="http://schemas.microsoft.com/office/drawing/2014/main" id="{0E180380-4E29-4149-B8A8-6992FE30B7ED}"/>
                    </a:ext>
                  </a:extLst>
                </p:cNvPr>
                <p:cNvSpPr/>
                <p:nvPr/>
              </p:nvSpPr>
              <p:spPr>
                <a:xfrm>
                  <a:off x="1115189" y="769485"/>
                  <a:ext cx="36417" cy="36417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12" name="Oval 111">
                  <a:extLst>
                    <a:ext uri="{FF2B5EF4-FFF2-40B4-BE49-F238E27FC236}">
                      <a16:creationId xmlns:a16="http://schemas.microsoft.com/office/drawing/2014/main" id="{0520383B-4CA5-466E-A61D-C47D13955656}"/>
                    </a:ext>
                  </a:extLst>
                </p:cNvPr>
                <p:cNvSpPr/>
                <p:nvPr/>
              </p:nvSpPr>
              <p:spPr>
                <a:xfrm>
                  <a:off x="865075" y="628190"/>
                  <a:ext cx="36417" cy="36417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13" name="Oval 112">
                  <a:extLst>
                    <a:ext uri="{FF2B5EF4-FFF2-40B4-BE49-F238E27FC236}">
                      <a16:creationId xmlns:a16="http://schemas.microsoft.com/office/drawing/2014/main" id="{590428F1-8AC8-4AA5-B87A-E209A5D8132D}"/>
                    </a:ext>
                  </a:extLst>
                </p:cNvPr>
                <p:cNvSpPr/>
                <p:nvPr/>
              </p:nvSpPr>
              <p:spPr>
                <a:xfrm>
                  <a:off x="828657" y="555355"/>
                  <a:ext cx="24877" cy="24877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14" name="Oval 113">
                  <a:extLst>
                    <a:ext uri="{FF2B5EF4-FFF2-40B4-BE49-F238E27FC236}">
                      <a16:creationId xmlns:a16="http://schemas.microsoft.com/office/drawing/2014/main" id="{F8F2BBD2-6B55-40D9-9AFA-1B73FD6A8C3F}"/>
                    </a:ext>
                  </a:extLst>
                </p:cNvPr>
                <p:cNvSpPr/>
                <p:nvPr/>
              </p:nvSpPr>
              <p:spPr>
                <a:xfrm>
                  <a:off x="712704" y="609981"/>
                  <a:ext cx="24877" cy="24877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17" name="Oval 116">
                  <a:extLst>
                    <a:ext uri="{FF2B5EF4-FFF2-40B4-BE49-F238E27FC236}">
                      <a16:creationId xmlns:a16="http://schemas.microsoft.com/office/drawing/2014/main" id="{8F1F7B45-0FDA-42D5-89DA-BC66BCBA7A9A}"/>
                    </a:ext>
                  </a:extLst>
                </p:cNvPr>
                <p:cNvSpPr/>
                <p:nvPr/>
              </p:nvSpPr>
              <p:spPr>
                <a:xfrm>
                  <a:off x="676287" y="717537"/>
                  <a:ext cx="24877" cy="24877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19" name="Oval 118">
                  <a:extLst>
                    <a:ext uri="{FF2B5EF4-FFF2-40B4-BE49-F238E27FC236}">
                      <a16:creationId xmlns:a16="http://schemas.microsoft.com/office/drawing/2014/main" id="{92EAFE71-18E0-463D-98A3-CEC25D6784CA}"/>
                    </a:ext>
                  </a:extLst>
                </p:cNvPr>
                <p:cNvSpPr/>
                <p:nvPr/>
              </p:nvSpPr>
              <p:spPr>
                <a:xfrm>
                  <a:off x="803781" y="701317"/>
                  <a:ext cx="24877" cy="24877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35" name="Oval 134">
                  <a:extLst>
                    <a:ext uri="{FF2B5EF4-FFF2-40B4-BE49-F238E27FC236}">
                      <a16:creationId xmlns:a16="http://schemas.microsoft.com/office/drawing/2014/main" id="{43301E10-6F16-4990-930C-04D7DA7E83FC}"/>
                    </a:ext>
                  </a:extLst>
                </p:cNvPr>
                <p:cNvSpPr/>
                <p:nvPr/>
              </p:nvSpPr>
              <p:spPr>
                <a:xfrm>
                  <a:off x="1195644" y="818719"/>
                  <a:ext cx="24877" cy="24877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36" name="Oval 135">
                  <a:extLst>
                    <a:ext uri="{FF2B5EF4-FFF2-40B4-BE49-F238E27FC236}">
                      <a16:creationId xmlns:a16="http://schemas.microsoft.com/office/drawing/2014/main" id="{D043538E-A9F0-426E-9FEA-9CA250B91E03}"/>
                    </a:ext>
                  </a:extLst>
                </p:cNvPr>
                <p:cNvSpPr/>
                <p:nvPr/>
              </p:nvSpPr>
              <p:spPr>
                <a:xfrm>
                  <a:off x="1362689" y="637053"/>
                  <a:ext cx="24877" cy="24877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37" name="Oval 136">
                  <a:extLst>
                    <a:ext uri="{FF2B5EF4-FFF2-40B4-BE49-F238E27FC236}">
                      <a16:creationId xmlns:a16="http://schemas.microsoft.com/office/drawing/2014/main" id="{3F71DE7C-C4F8-4C4A-8EBD-DA5189751A9D}"/>
                    </a:ext>
                  </a:extLst>
                </p:cNvPr>
                <p:cNvSpPr/>
                <p:nvPr/>
              </p:nvSpPr>
              <p:spPr>
                <a:xfrm>
                  <a:off x="1326272" y="744609"/>
                  <a:ext cx="24877" cy="24877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38" name="Oval 137">
                  <a:extLst>
                    <a:ext uri="{FF2B5EF4-FFF2-40B4-BE49-F238E27FC236}">
                      <a16:creationId xmlns:a16="http://schemas.microsoft.com/office/drawing/2014/main" id="{5C1E1B2E-7DA4-4404-9AA9-16999E400379}"/>
                    </a:ext>
                  </a:extLst>
                </p:cNvPr>
                <p:cNvSpPr/>
                <p:nvPr/>
              </p:nvSpPr>
              <p:spPr>
                <a:xfrm>
                  <a:off x="1453765" y="728389"/>
                  <a:ext cx="24877" cy="24877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13" name="Straight Connector 12">
                  <a:extLst>
                    <a:ext uri="{FF2B5EF4-FFF2-40B4-BE49-F238E27FC236}">
                      <a16:creationId xmlns:a16="http://schemas.microsoft.com/office/drawing/2014/main" id="{01535A64-1B88-4334-9E78-F921E2647D89}"/>
                    </a:ext>
                  </a:extLst>
                </p:cNvPr>
                <p:cNvCxnSpPr>
                  <a:cxnSpLocks/>
                  <a:stCxn id="112" idx="0"/>
                  <a:endCxn id="113" idx="5"/>
                </p:cNvCxnSpPr>
                <p:nvPr/>
              </p:nvCxnSpPr>
              <p:spPr>
                <a:xfrm flipH="1" flipV="1">
                  <a:off x="849891" y="576589"/>
                  <a:ext cx="33393" cy="51601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Straight Connector 46">
                  <a:extLst>
                    <a:ext uri="{FF2B5EF4-FFF2-40B4-BE49-F238E27FC236}">
                      <a16:creationId xmlns:a16="http://schemas.microsoft.com/office/drawing/2014/main" id="{8387AC26-8848-41D9-8BFF-AB80AA2DFB4F}"/>
                    </a:ext>
                  </a:extLst>
                </p:cNvPr>
                <p:cNvCxnSpPr>
                  <a:stCxn id="112" idx="2"/>
                  <a:endCxn id="114" idx="6"/>
                </p:cNvCxnSpPr>
                <p:nvPr/>
              </p:nvCxnSpPr>
              <p:spPr>
                <a:xfrm flipH="1" flipV="1">
                  <a:off x="737581" y="622419"/>
                  <a:ext cx="127494" cy="23980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Straight Connector 48">
                  <a:extLst>
                    <a:ext uri="{FF2B5EF4-FFF2-40B4-BE49-F238E27FC236}">
                      <a16:creationId xmlns:a16="http://schemas.microsoft.com/office/drawing/2014/main" id="{36F89B8B-53D4-4F84-8CC0-91E32BC87DCC}"/>
                    </a:ext>
                  </a:extLst>
                </p:cNvPr>
                <p:cNvCxnSpPr>
                  <a:cxnSpLocks/>
                  <a:stCxn id="112" idx="3"/>
                  <a:endCxn id="117" idx="6"/>
                </p:cNvCxnSpPr>
                <p:nvPr/>
              </p:nvCxnSpPr>
              <p:spPr>
                <a:xfrm flipH="1">
                  <a:off x="701164" y="659274"/>
                  <a:ext cx="169244" cy="70701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Straight Connector 54">
                  <a:extLst>
                    <a:ext uri="{FF2B5EF4-FFF2-40B4-BE49-F238E27FC236}">
                      <a16:creationId xmlns:a16="http://schemas.microsoft.com/office/drawing/2014/main" id="{EF7000B5-0DC7-40AA-8808-F4002A69430E}"/>
                    </a:ext>
                  </a:extLst>
                </p:cNvPr>
                <p:cNvCxnSpPr>
                  <a:cxnSpLocks/>
                  <a:stCxn id="112" idx="4"/>
                  <a:endCxn id="119" idx="7"/>
                </p:cNvCxnSpPr>
                <p:nvPr/>
              </p:nvCxnSpPr>
              <p:spPr>
                <a:xfrm flipH="1">
                  <a:off x="825014" y="664607"/>
                  <a:ext cx="58270" cy="40353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Straight Connector 59">
                  <a:extLst>
                    <a:ext uri="{FF2B5EF4-FFF2-40B4-BE49-F238E27FC236}">
                      <a16:creationId xmlns:a16="http://schemas.microsoft.com/office/drawing/2014/main" id="{A19AA0FB-ACAF-439D-BDB9-90EBD111E21D}"/>
                    </a:ext>
                  </a:extLst>
                </p:cNvPr>
                <p:cNvCxnSpPr>
                  <a:stCxn id="112" idx="7"/>
                  <a:endCxn id="107" idx="2"/>
                </p:cNvCxnSpPr>
                <p:nvPr/>
              </p:nvCxnSpPr>
              <p:spPr>
                <a:xfrm flipV="1">
                  <a:off x="896159" y="609981"/>
                  <a:ext cx="200822" cy="23542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" name="Straight Connector 61">
                  <a:extLst>
                    <a:ext uri="{FF2B5EF4-FFF2-40B4-BE49-F238E27FC236}">
                      <a16:creationId xmlns:a16="http://schemas.microsoft.com/office/drawing/2014/main" id="{ED03F9EB-FE02-496A-A905-D1AB7D875DC9}"/>
                    </a:ext>
                  </a:extLst>
                </p:cNvPr>
                <p:cNvCxnSpPr>
                  <a:stCxn id="107" idx="5"/>
                  <a:endCxn id="108" idx="1"/>
                </p:cNvCxnSpPr>
                <p:nvPr/>
              </p:nvCxnSpPr>
              <p:spPr>
                <a:xfrm>
                  <a:off x="1128065" y="622857"/>
                  <a:ext cx="112470" cy="59815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Straight Connector 68">
                  <a:extLst>
                    <a:ext uri="{FF2B5EF4-FFF2-40B4-BE49-F238E27FC236}">
                      <a16:creationId xmlns:a16="http://schemas.microsoft.com/office/drawing/2014/main" id="{8CE5EA40-AA63-44D2-97EB-23E12B72E6C2}"/>
                    </a:ext>
                  </a:extLst>
                </p:cNvPr>
                <p:cNvCxnSpPr>
                  <a:cxnSpLocks/>
                  <a:stCxn id="109" idx="7"/>
                  <a:endCxn id="108" idx="4"/>
                </p:cNvCxnSpPr>
                <p:nvPr/>
              </p:nvCxnSpPr>
              <p:spPr>
                <a:xfrm flipV="1">
                  <a:off x="1146273" y="713755"/>
                  <a:ext cx="107138" cy="61063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" name="Straight Connector 81">
                  <a:extLst>
                    <a:ext uri="{FF2B5EF4-FFF2-40B4-BE49-F238E27FC236}">
                      <a16:creationId xmlns:a16="http://schemas.microsoft.com/office/drawing/2014/main" id="{E0AEC96C-B5E2-4D5F-8041-74C6B8CC3B93}"/>
                    </a:ext>
                  </a:extLst>
                </p:cNvPr>
                <p:cNvCxnSpPr>
                  <a:stCxn id="109" idx="1"/>
                  <a:endCxn id="112" idx="6"/>
                </p:cNvCxnSpPr>
                <p:nvPr/>
              </p:nvCxnSpPr>
              <p:spPr>
                <a:xfrm flipH="1" flipV="1">
                  <a:off x="896159" y="659274"/>
                  <a:ext cx="224364" cy="115545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Straight Connector 84">
                  <a:extLst>
                    <a:ext uri="{FF2B5EF4-FFF2-40B4-BE49-F238E27FC236}">
                      <a16:creationId xmlns:a16="http://schemas.microsoft.com/office/drawing/2014/main" id="{F9481618-C4E6-4875-A42E-052A5FD22412}"/>
                    </a:ext>
                  </a:extLst>
                </p:cNvPr>
                <p:cNvCxnSpPr>
                  <a:stCxn id="112" idx="6"/>
                  <a:endCxn id="108" idx="2"/>
                </p:cNvCxnSpPr>
                <p:nvPr/>
              </p:nvCxnSpPr>
              <p:spPr>
                <a:xfrm>
                  <a:off x="901492" y="646399"/>
                  <a:ext cx="333710" cy="49148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Straight Connector 88">
                  <a:extLst>
                    <a:ext uri="{FF2B5EF4-FFF2-40B4-BE49-F238E27FC236}">
                      <a16:creationId xmlns:a16="http://schemas.microsoft.com/office/drawing/2014/main" id="{D3D99A52-0000-4352-9925-D78544BC2D46}"/>
                    </a:ext>
                  </a:extLst>
                </p:cNvPr>
                <p:cNvCxnSpPr>
                  <a:stCxn id="108" idx="7"/>
                  <a:endCxn id="136" idx="3"/>
                </p:cNvCxnSpPr>
                <p:nvPr/>
              </p:nvCxnSpPr>
              <p:spPr>
                <a:xfrm flipV="1">
                  <a:off x="1266286" y="658287"/>
                  <a:ext cx="100046" cy="24385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Straight Connector 92">
                  <a:extLst>
                    <a:ext uri="{FF2B5EF4-FFF2-40B4-BE49-F238E27FC236}">
                      <a16:creationId xmlns:a16="http://schemas.microsoft.com/office/drawing/2014/main" id="{E2F0F956-70BC-4EBC-898A-34081F2CB462}"/>
                    </a:ext>
                  </a:extLst>
                </p:cNvPr>
                <p:cNvCxnSpPr>
                  <a:stCxn id="108" idx="6"/>
                  <a:endCxn id="138" idx="2"/>
                </p:cNvCxnSpPr>
                <p:nvPr/>
              </p:nvCxnSpPr>
              <p:spPr>
                <a:xfrm>
                  <a:off x="1271620" y="695547"/>
                  <a:ext cx="182146" cy="4528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Straight Connector 95">
                  <a:extLst>
                    <a:ext uri="{FF2B5EF4-FFF2-40B4-BE49-F238E27FC236}">
                      <a16:creationId xmlns:a16="http://schemas.microsoft.com/office/drawing/2014/main" id="{AD87F0A7-8979-4F5C-A26D-1B0F00FAF19E}"/>
                    </a:ext>
                  </a:extLst>
                </p:cNvPr>
                <p:cNvCxnSpPr>
                  <a:cxnSpLocks/>
                  <a:stCxn id="137" idx="1"/>
                  <a:endCxn id="108" idx="5"/>
                </p:cNvCxnSpPr>
                <p:nvPr/>
              </p:nvCxnSpPr>
              <p:spPr>
                <a:xfrm flipH="1" flipV="1">
                  <a:off x="1266286" y="708422"/>
                  <a:ext cx="63628" cy="3983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6" name="Straight Connector 145">
                  <a:extLst>
                    <a:ext uri="{FF2B5EF4-FFF2-40B4-BE49-F238E27FC236}">
                      <a16:creationId xmlns:a16="http://schemas.microsoft.com/office/drawing/2014/main" id="{7F67E0B5-8ABB-40EE-B206-149FBD214F8F}"/>
                    </a:ext>
                  </a:extLst>
                </p:cNvPr>
                <p:cNvCxnSpPr>
                  <a:cxnSpLocks/>
                  <a:stCxn id="109" idx="5"/>
                  <a:endCxn id="135" idx="2"/>
                </p:cNvCxnSpPr>
                <p:nvPr/>
              </p:nvCxnSpPr>
              <p:spPr>
                <a:xfrm>
                  <a:off x="1146273" y="800569"/>
                  <a:ext cx="49371" cy="30588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0" name="Straight Connector 159">
                  <a:extLst>
                    <a:ext uri="{FF2B5EF4-FFF2-40B4-BE49-F238E27FC236}">
                      <a16:creationId xmlns:a16="http://schemas.microsoft.com/office/drawing/2014/main" id="{BBA89AC4-F5EC-45E4-9CE7-1E0B510B8F22}"/>
                    </a:ext>
                  </a:extLst>
                </p:cNvPr>
                <p:cNvCxnSpPr>
                  <a:stCxn id="109" idx="4"/>
                  <a:endCxn id="134" idx="1"/>
                </p:cNvCxnSpPr>
                <p:nvPr/>
              </p:nvCxnSpPr>
              <p:spPr>
                <a:xfrm>
                  <a:off x="1133398" y="805903"/>
                  <a:ext cx="12438" cy="141296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2" name="Straight Connector 161">
                  <a:extLst>
                    <a:ext uri="{FF2B5EF4-FFF2-40B4-BE49-F238E27FC236}">
                      <a16:creationId xmlns:a16="http://schemas.microsoft.com/office/drawing/2014/main" id="{3C4E2C88-5AA7-4356-ADFA-F6260DDEB3D4}"/>
                    </a:ext>
                  </a:extLst>
                </p:cNvPr>
                <p:cNvCxnSpPr>
                  <a:cxnSpLocks/>
                  <a:stCxn id="109" idx="3"/>
                  <a:endCxn id="120" idx="7"/>
                </p:cNvCxnSpPr>
                <p:nvPr/>
              </p:nvCxnSpPr>
              <p:spPr>
                <a:xfrm flipH="1">
                  <a:off x="1049321" y="800569"/>
                  <a:ext cx="71202" cy="4496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8" name="Oval 167">
                  <a:extLst>
                    <a:ext uri="{FF2B5EF4-FFF2-40B4-BE49-F238E27FC236}">
                      <a16:creationId xmlns:a16="http://schemas.microsoft.com/office/drawing/2014/main" id="{605C4798-7382-4F5C-B56D-89B765A124CB}"/>
                    </a:ext>
                  </a:extLst>
                </p:cNvPr>
                <p:cNvSpPr/>
                <p:nvPr/>
              </p:nvSpPr>
              <p:spPr>
                <a:xfrm>
                  <a:off x="1245349" y="755798"/>
                  <a:ext cx="24877" cy="24877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170" name="Straight Connector 169">
                  <a:extLst>
                    <a:ext uri="{FF2B5EF4-FFF2-40B4-BE49-F238E27FC236}">
                      <a16:creationId xmlns:a16="http://schemas.microsoft.com/office/drawing/2014/main" id="{103B4097-A7D1-4102-A4D8-8D6BCF2A40D1}"/>
                    </a:ext>
                  </a:extLst>
                </p:cNvPr>
                <p:cNvCxnSpPr>
                  <a:stCxn id="108" idx="4"/>
                  <a:endCxn id="168" idx="0"/>
                </p:cNvCxnSpPr>
                <p:nvPr/>
              </p:nvCxnSpPr>
              <p:spPr>
                <a:xfrm>
                  <a:off x="1253411" y="713755"/>
                  <a:ext cx="4376" cy="42043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0" name="Oval 119">
                  <a:extLst>
                    <a:ext uri="{FF2B5EF4-FFF2-40B4-BE49-F238E27FC236}">
                      <a16:creationId xmlns:a16="http://schemas.microsoft.com/office/drawing/2014/main" id="{10803F1C-F3B4-4276-8124-E2961B5E156E}"/>
                    </a:ext>
                  </a:extLst>
                </p:cNvPr>
                <p:cNvSpPr/>
                <p:nvPr/>
              </p:nvSpPr>
              <p:spPr>
                <a:xfrm>
                  <a:off x="1028087" y="841887"/>
                  <a:ext cx="24877" cy="24877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34" name="Oval 133">
                  <a:extLst>
                    <a:ext uri="{FF2B5EF4-FFF2-40B4-BE49-F238E27FC236}">
                      <a16:creationId xmlns:a16="http://schemas.microsoft.com/office/drawing/2014/main" id="{28E36C2D-5F2A-43AA-8E08-76B72F5D869A}"/>
                    </a:ext>
                  </a:extLst>
                </p:cNvPr>
                <p:cNvSpPr/>
                <p:nvPr/>
              </p:nvSpPr>
              <p:spPr>
                <a:xfrm>
                  <a:off x="1133398" y="947198"/>
                  <a:ext cx="24877" cy="24877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p:grpSp>
          <p:grpSp>
            <p:nvGrpSpPr>
              <p:cNvPr id="264" name="Group 263">
                <a:extLst>
                  <a:ext uri="{FF2B5EF4-FFF2-40B4-BE49-F238E27FC236}">
                    <a16:creationId xmlns:a16="http://schemas.microsoft.com/office/drawing/2014/main" id="{21A1FE01-B481-4842-88A4-783261F13B0D}"/>
                  </a:ext>
                </a:extLst>
              </p:cNvPr>
              <p:cNvGrpSpPr/>
              <p:nvPr/>
            </p:nvGrpSpPr>
            <p:grpSpPr>
              <a:xfrm>
                <a:off x="586639" y="985832"/>
                <a:ext cx="1192119" cy="2035889"/>
                <a:chOff x="586639" y="993296"/>
                <a:chExt cx="981651" cy="2035889"/>
              </a:xfrm>
            </p:grpSpPr>
            <p:sp>
              <p:nvSpPr>
                <p:cNvPr id="172" name="Rectangle 171">
                  <a:extLst>
                    <a:ext uri="{FF2B5EF4-FFF2-40B4-BE49-F238E27FC236}">
                      <a16:creationId xmlns:a16="http://schemas.microsoft.com/office/drawing/2014/main" id="{8292F371-C997-42B5-9A6F-B73ED1F64206}"/>
                    </a:ext>
                  </a:extLst>
                </p:cNvPr>
                <p:cNvSpPr/>
                <p:nvPr/>
              </p:nvSpPr>
              <p:spPr>
                <a:xfrm>
                  <a:off x="586639" y="993296"/>
                  <a:ext cx="981651" cy="26962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800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istema Totalmente Decentralizzato</a:t>
                  </a:r>
                </a:p>
              </p:txBody>
            </p:sp>
            <p:cxnSp>
              <p:nvCxnSpPr>
                <p:cNvPr id="174" name="Straight Connector 173">
                  <a:extLst>
                    <a:ext uri="{FF2B5EF4-FFF2-40B4-BE49-F238E27FC236}">
                      <a16:creationId xmlns:a16="http://schemas.microsoft.com/office/drawing/2014/main" id="{040C024E-98CB-43F4-8B82-D3D5E167A10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86639" y="1284137"/>
                  <a:ext cx="981651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FEA22F35-2774-4473-9CE1-75B0190504C2}"/>
                    </a:ext>
                  </a:extLst>
                </p:cNvPr>
                <p:cNvSpPr/>
                <p:nvPr/>
              </p:nvSpPr>
              <p:spPr>
                <a:xfrm>
                  <a:off x="586639" y="1305358"/>
                  <a:ext cx="981651" cy="26962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800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Alta resistenza alla censura</a:t>
                  </a:r>
                </a:p>
              </p:txBody>
            </p:sp>
            <p:sp>
              <p:nvSpPr>
                <p:cNvPr id="176" name="Rectangle 175">
                  <a:extLst>
                    <a:ext uri="{FF2B5EF4-FFF2-40B4-BE49-F238E27FC236}">
                      <a16:creationId xmlns:a16="http://schemas.microsoft.com/office/drawing/2014/main" id="{74925FB0-E8B0-4241-92E5-A4AE961D885E}"/>
                    </a:ext>
                  </a:extLst>
                </p:cNvPr>
                <p:cNvSpPr/>
                <p:nvPr/>
              </p:nvSpPr>
              <p:spPr>
                <a:xfrm>
                  <a:off x="586639" y="1596199"/>
                  <a:ext cx="981651" cy="26962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800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Alta resistenza alla manomissione</a:t>
                  </a:r>
                </a:p>
              </p:txBody>
            </p:sp>
            <p:sp>
              <p:nvSpPr>
                <p:cNvPr id="177" name="Rectangle 176">
                  <a:extLst>
                    <a:ext uri="{FF2B5EF4-FFF2-40B4-BE49-F238E27FC236}">
                      <a16:creationId xmlns:a16="http://schemas.microsoft.com/office/drawing/2014/main" id="{4910C6E3-0753-4BA1-A5FE-5B097AB4902A}"/>
                    </a:ext>
                  </a:extLst>
                </p:cNvPr>
                <p:cNvSpPr/>
                <p:nvPr/>
              </p:nvSpPr>
              <p:spPr>
                <a:xfrm>
                  <a:off x="586639" y="1887040"/>
                  <a:ext cx="981651" cy="26962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800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Nessun bisogno di fiducia nel sistema</a:t>
                  </a:r>
                </a:p>
              </p:txBody>
            </p:sp>
            <p:sp>
              <p:nvSpPr>
                <p:cNvPr id="178" name="Rectangle 177">
                  <a:extLst>
                    <a:ext uri="{FF2B5EF4-FFF2-40B4-BE49-F238E27FC236}">
                      <a16:creationId xmlns:a16="http://schemas.microsoft.com/office/drawing/2014/main" id="{C305CF61-E60E-4FBD-867A-140D14692EAA}"/>
                    </a:ext>
                  </a:extLst>
                </p:cNvPr>
                <p:cNvSpPr/>
                <p:nvPr/>
              </p:nvSpPr>
              <p:spPr>
                <a:xfrm>
                  <a:off x="586639" y="2177881"/>
                  <a:ext cx="981651" cy="26962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800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Bassa capacità di lavorazione</a:t>
                  </a:r>
                </a:p>
              </p:txBody>
            </p:sp>
            <p:sp>
              <p:nvSpPr>
                <p:cNvPr id="179" name="Rectangle 178">
                  <a:extLst>
                    <a:ext uri="{FF2B5EF4-FFF2-40B4-BE49-F238E27FC236}">
                      <a16:creationId xmlns:a16="http://schemas.microsoft.com/office/drawing/2014/main" id="{B16D1DB0-2D64-4C21-8E6C-176D32C070E9}"/>
                    </a:ext>
                  </a:extLst>
                </p:cNvPr>
                <p:cNvSpPr/>
                <p:nvPr/>
              </p:nvSpPr>
              <p:spPr>
                <a:xfrm>
                  <a:off x="586639" y="2468722"/>
                  <a:ext cx="981651" cy="26962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800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Alto overhead</a:t>
                  </a:r>
                </a:p>
              </p:txBody>
            </p:sp>
            <p:sp>
              <p:nvSpPr>
                <p:cNvPr id="180" name="Rectangle 179">
                  <a:extLst>
                    <a:ext uri="{FF2B5EF4-FFF2-40B4-BE49-F238E27FC236}">
                      <a16:creationId xmlns:a16="http://schemas.microsoft.com/office/drawing/2014/main" id="{8C727981-4B1F-48BC-8EE7-DFADA6AA12A2}"/>
                    </a:ext>
                  </a:extLst>
                </p:cNvPr>
                <p:cNvSpPr/>
                <p:nvPr/>
              </p:nvSpPr>
              <p:spPr>
                <a:xfrm>
                  <a:off x="586639" y="2759565"/>
                  <a:ext cx="981651" cy="26962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800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Alta inefficienza delle risorse</a:t>
                  </a:r>
                </a:p>
              </p:txBody>
            </p:sp>
          </p:grpSp>
        </p:grpSp>
        <p:grpSp>
          <p:nvGrpSpPr>
            <p:cNvPr id="267" name="Group 266">
              <a:extLst>
                <a:ext uri="{FF2B5EF4-FFF2-40B4-BE49-F238E27FC236}">
                  <a16:creationId xmlns:a16="http://schemas.microsoft.com/office/drawing/2014/main" id="{C7E8049C-F9DA-4356-8195-11ADE3CAF1B2}"/>
                </a:ext>
              </a:extLst>
            </p:cNvPr>
            <p:cNvGrpSpPr/>
            <p:nvPr/>
          </p:nvGrpSpPr>
          <p:grpSpPr>
            <a:xfrm>
              <a:off x="3456000" y="582175"/>
              <a:ext cx="1147938" cy="2412726"/>
              <a:chOff x="2750773" y="592792"/>
              <a:chExt cx="1147938" cy="2412726"/>
            </a:xfrm>
          </p:grpSpPr>
          <p:grpSp>
            <p:nvGrpSpPr>
              <p:cNvPr id="250" name="Group 249">
                <a:extLst>
                  <a:ext uri="{FF2B5EF4-FFF2-40B4-BE49-F238E27FC236}">
                    <a16:creationId xmlns:a16="http://schemas.microsoft.com/office/drawing/2014/main" id="{219C5D4B-266D-4126-86A2-A107F78F99EE}"/>
                  </a:ext>
                </a:extLst>
              </p:cNvPr>
              <p:cNvGrpSpPr/>
              <p:nvPr/>
            </p:nvGrpSpPr>
            <p:grpSpPr>
              <a:xfrm>
                <a:off x="3156744" y="592792"/>
                <a:ext cx="335996" cy="341847"/>
                <a:chOff x="2423671" y="592792"/>
                <a:chExt cx="335996" cy="341847"/>
              </a:xfrm>
            </p:grpSpPr>
            <p:sp>
              <p:nvSpPr>
                <p:cNvPr id="182" name="Oval 181">
                  <a:extLst>
                    <a:ext uri="{FF2B5EF4-FFF2-40B4-BE49-F238E27FC236}">
                      <a16:creationId xmlns:a16="http://schemas.microsoft.com/office/drawing/2014/main" id="{9573A2FB-CAEF-4A61-B4D0-1ECA357C5098}"/>
                    </a:ext>
                  </a:extLst>
                </p:cNvPr>
                <p:cNvSpPr/>
                <p:nvPr/>
              </p:nvSpPr>
              <p:spPr>
                <a:xfrm>
                  <a:off x="2547083" y="752881"/>
                  <a:ext cx="36000" cy="360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84" name="Oval 183">
                  <a:extLst>
                    <a:ext uri="{FF2B5EF4-FFF2-40B4-BE49-F238E27FC236}">
                      <a16:creationId xmlns:a16="http://schemas.microsoft.com/office/drawing/2014/main" id="{0668E3B2-4925-42C0-8A41-AA81F28F1488}"/>
                    </a:ext>
                  </a:extLst>
                </p:cNvPr>
                <p:cNvSpPr/>
                <p:nvPr/>
              </p:nvSpPr>
              <p:spPr>
                <a:xfrm>
                  <a:off x="2568898" y="617669"/>
                  <a:ext cx="18000" cy="180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85" name="Oval 184">
                  <a:extLst>
                    <a:ext uri="{FF2B5EF4-FFF2-40B4-BE49-F238E27FC236}">
                      <a16:creationId xmlns:a16="http://schemas.microsoft.com/office/drawing/2014/main" id="{70B01CCD-69AF-4A64-A0A6-6D9F4D8AD4EB}"/>
                    </a:ext>
                  </a:extLst>
                </p:cNvPr>
                <p:cNvSpPr/>
                <p:nvPr/>
              </p:nvSpPr>
              <p:spPr>
                <a:xfrm>
                  <a:off x="2522205" y="665615"/>
                  <a:ext cx="18000" cy="180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86" name="Oval 185">
                  <a:extLst>
                    <a:ext uri="{FF2B5EF4-FFF2-40B4-BE49-F238E27FC236}">
                      <a16:creationId xmlns:a16="http://schemas.microsoft.com/office/drawing/2014/main" id="{02722983-76FB-4E8F-A580-6B21A5BA0500}"/>
                    </a:ext>
                  </a:extLst>
                </p:cNvPr>
                <p:cNvSpPr/>
                <p:nvPr/>
              </p:nvSpPr>
              <p:spPr>
                <a:xfrm>
                  <a:off x="2449296" y="662092"/>
                  <a:ext cx="18000" cy="180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87" name="Oval 186">
                  <a:extLst>
                    <a:ext uri="{FF2B5EF4-FFF2-40B4-BE49-F238E27FC236}">
                      <a16:creationId xmlns:a16="http://schemas.microsoft.com/office/drawing/2014/main" id="{2C9CDF4D-A0B8-4072-863A-593E9E77AAB6}"/>
                    </a:ext>
                  </a:extLst>
                </p:cNvPr>
                <p:cNvSpPr/>
                <p:nvPr/>
              </p:nvSpPr>
              <p:spPr>
                <a:xfrm>
                  <a:off x="2423671" y="728298"/>
                  <a:ext cx="18000" cy="180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88" name="Oval 187">
                  <a:extLst>
                    <a:ext uri="{FF2B5EF4-FFF2-40B4-BE49-F238E27FC236}">
                      <a16:creationId xmlns:a16="http://schemas.microsoft.com/office/drawing/2014/main" id="{D082854F-5544-4901-AD09-523C38067464}"/>
                    </a:ext>
                  </a:extLst>
                </p:cNvPr>
                <p:cNvSpPr/>
                <p:nvPr/>
              </p:nvSpPr>
              <p:spPr>
                <a:xfrm>
                  <a:off x="2474173" y="785231"/>
                  <a:ext cx="18000" cy="180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89" name="Oval 188">
                  <a:extLst>
                    <a:ext uri="{FF2B5EF4-FFF2-40B4-BE49-F238E27FC236}">
                      <a16:creationId xmlns:a16="http://schemas.microsoft.com/office/drawing/2014/main" id="{606D45F8-F063-4793-942F-17A4CF5AF94F}"/>
                    </a:ext>
                  </a:extLst>
                </p:cNvPr>
                <p:cNvSpPr/>
                <p:nvPr/>
              </p:nvSpPr>
              <p:spPr>
                <a:xfrm>
                  <a:off x="2467075" y="865738"/>
                  <a:ext cx="18000" cy="180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90" name="Oval 189">
                  <a:extLst>
                    <a:ext uri="{FF2B5EF4-FFF2-40B4-BE49-F238E27FC236}">
                      <a16:creationId xmlns:a16="http://schemas.microsoft.com/office/drawing/2014/main" id="{0889AE2B-F1EC-419F-8EF5-8CCB20182CBA}"/>
                    </a:ext>
                  </a:extLst>
                </p:cNvPr>
                <p:cNvSpPr/>
                <p:nvPr/>
              </p:nvSpPr>
              <p:spPr>
                <a:xfrm>
                  <a:off x="2536661" y="916639"/>
                  <a:ext cx="18000" cy="180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91" name="Oval 190">
                  <a:extLst>
                    <a:ext uri="{FF2B5EF4-FFF2-40B4-BE49-F238E27FC236}">
                      <a16:creationId xmlns:a16="http://schemas.microsoft.com/office/drawing/2014/main" id="{6C7E91AE-89DD-4358-B31F-27C65F5C32CD}"/>
                    </a:ext>
                  </a:extLst>
                </p:cNvPr>
                <p:cNvSpPr/>
                <p:nvPr/>
              </p:nvSpPr>
              <p:spPr>
                <a:xfrm>
                  <a:off x="2593775" y="881032"/>
                  <a:ext cx="18000" cy="180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92" name="Oval 191">
                  <a:extLst>
                    <a:ext uri="{FF2B5EF4-FFF2-40B4-BE49-F238E27FC236}">
                      <a16:creationId xmlns:a16="http://schemas.microsoft.com/office/drawing/2014/main" id="{2713BDFA-350B-43D8-B4F6-E681944AD991}"/>
                    </a:ext>
                  </a:extLst>
                </p:cNvPr>
                <p:cNvSpPr/>
                <p:nvPr/>
              </p:nvSpPr>
              <p:spPr>
                <a:xfrm>
                  <a:off x="2708037" y="868594"/>
                  <a:ext cx="18000" cy="180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93" name="Oval 192">
                  <a:extLst>
                    <a:ext uri="{FF2B5EF4-FFF2-40B4-BE49-F238E27FC236}">
                      <a16:creationId xmlns:a16="http://schemas.microsoft.com/office/drawing/2014/main" id="{6CBB4480-1F67-47EB-8A28-FD10A58A1D0A}"/>
                    </a:ext>
                  </a:extLst>
                </p:cNvPr>
                <p:cNvSpPr/>
                <p:nvPr/>
              </p:nvSpPr>
              <p:spPr>
                <a:xfrm>
                  <a:off x="2741667" y="762259"/>
                  <a:ext cx="18000" cy="180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94" name="Oval 193">
                  <a:extLst>
                    <a:ext uri="{FF2B5EF4-FFF2-40B4-BE49-F238E27FC236}">
                      <a16:creationId xmlns:a16="http://schemas.microsoft.com/office/drawing/2014/main" id="{6CB4356C-ABEC-4F98-94B2-1447520812F6}"/>
                    </a:ext>
                  </a:extLst>
                </p:cNvPr>
                <p:cNvSpPr/>
                <p:nvPr/>
              </p:nvSpPr>
              <p:spPr>
                <a:xfrm>
                  <a:off x="2683160" y="703422"/>
                  <a:ext cx="18000" cy="180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95" name="Oval 194">
                  <a:extLst>
                    <a:ext uri="{FF2B5EF4-FFF2-40B4-BE49-F238E27FC236}">
                      <a16:creationId xmlns:a16="http://schemas.microsoft.com/office/drawing/2014/main" id="{68BA8092-8A45-41D3-9903-2EC0EC5BBCC8}"/>
                    </a:ext>
                  </a:extLst>
                </p:cNvPr>
                <p:cNvSpPr/>
                <p:nvPr/>
              </p:nvSpPr>
              <p:spPr>
                <a:xfrm>
                  <a:off x="2657342" y="630108"/>
                  <a:ext cx="18000" cy="180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96" name="Oval 195">
                  <a:extLst>
                    <a:ext uri="{FF2B5EF4-FFF2-40B4-BE49-F238E27FC236}">
                      <a16:creationId xmlns:a16="http://schemas.microsoft.com/office/drawing/2014/main" id="{038E8BB5-D5AC-47F8-862F-CB8692232F33}"/>
                    </a:ext>
                  </a:extLst>
                </p:cNvPr>
                <p:cNvSpPr/>
                <p:nvPr/>
              </p:nvSpPr>
              <p:spPr>
                <a:xfrm>
                  <a:off x="2615152" y="592792"/>
                  <a:ext cx="18000" cy="180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97" name="Oval 196">
                  <a:extLst>
                    <a:ext uri="{FF2B5EF4-FFF2-40B4-BE49-F238E27FC236}">
                      <a16:creationId xmlns:a16="http://schemas.microsoft.com/office/drawing/2014/main" id="{324CFF6B-8A14-49AB-9DCB-D8C56486F07D}"/>
                    </a:ext>
                  </a:extLst>
                </p:cNvPr>
                <p:cNvSpPr/>
                <p:nvPr/>
              </p:nvSpPr>
              <p:spPr>
                <a:xfrm>
                  <a:off x="2673099" y="818112"/>
                  <a:ext cx="18000" cy="180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9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199" name="Straight Connector 198">
                  <a:extLst>
                    <a:ext uri="{FF2B5EF4-FFF2-40B4-BE49-F238E27FC236}">
                      <a16:creationId xmlns:a16="http://schemas.microsoft.com/office/drawing/2014/main" id="{EF02C25A-013B-4C6A-8584-18E6CC4343F0}"/>
                    </a:ext>
                  </a:extLst>
                </p:cNvPr>
                <p:cNvCxnSpPr>
                  <a:cxnSpLocks/>
                  <a:stCxn id="194" idx="3"/>
                  <a:endCxn id="182" idx="7"/>
                </p:cNvCxnSpPr>
                <p:nvPr/>
              </p:nvCxnSpPr>
              <p:spPr>
                <a:xfrm flipH="1">
                  <a:off x="2577811" y="718786"/>
                  <a:ext cx="107985" cy="39367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2" name="Straight Connector 201">
                  <a:extLst>
                    <a:ext uri="{FF2B5EF4-FFF2-40B4-BE49-F238E27FC236}">
                      <a16:creationId xmlns:a16="http://schemas.microsoft.com/office/drawing/2014/main" id="{7E252C2B-BDE2-4322-9AD9-1C48E781CA52}"/>
                    </a:ext>
                  </a:extLst>
                </p:cNvPr>
                <p:cNvCxnSpPr>
                  <a:cxnSpLocks/>
                  <a:stCxn id="195" idx="3"/>
                  <a:endCxn id="182" idx="7"/>
                </p:cNvCxnSpPr>
                <p:nvPr/>
              </p:nvCxnSpPr>
              <p:spPr>
                <a:xfrm flipH="1">
                  <a:off x="2577811" y="645472"/>
                  <a:ext cx="82167" cy="112681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5" name="Straight Connector 204">
                  <a:extLst>
                    <a:ext uri="{FF2B5EF4-FFF2-40B4-BE49-F238E27FC236}">
                      <a16:creationId xmlns:a16="http://schemas.microsoft.com/office/drawing/2014/main" id="{F1449CE5-BDFB-4EF1-8E31-EEADC83AEA08}"/>
                    </a:ext>
                  </a:extLst>
                </p:cNvPr>
                <p:cNvCxnSpPr>
                  <a:cxnSpLocks/>
                  <a:stCxn id="182" idx="0"/>
                  <a:endCxn id="196" idx="4"/>
                </p:cNvCxnSpPr>
                <p:nvPr/>
              </p:nvCxnSpPr>
              <p:spPr>
                <a:xfrm flipV="1">
                  <a:off x="2565083" y="610792"/>
                  <a:ext cx="59069" cy="142089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2" name="Straight Connector 211">
                  <a:extLst>
                    <a:ext uri="{FF2B5EF4-FFF2-40B4-BE49-F238E27FC236}">
                      <a16:creationId xmlns:a16="http://schemas.microsoft.com/office/drawing/2014/main" id="{6CAD457A-87AF-4856-85BA-E3B9F7EF7E00}"/>
                    </a:ext>
                  </a:extLst>
                </p:cNvPr>
                <p:cNvCxnSpPr>
                  <a:cxnSpLocks/>
                  <a:stCxn id="182" idx="0"/>
                  <a:endCxn id="184" idx="4"/>
                </p:cNvCxnSpPr>
                <p:nvPr/>
              </p:nvCxnSpPr>
              <p:spPr>
                <a:xfrm flipV="1">
                  <a:off x="2565083" y="635669"/>
                  <a:ext cx="12815" cy="117212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4" name="Straight Connector 213">
                  <a:extLst>
                    <a:ext uri="{FF2B5EF4-FFF2-40B4-BE49-F238E27FC236}">
                      <a16:creationId xmlns:a16="http://schemas.microsoft.com/office/drawing/2014/main" id="{A4138149-125F-4B68-BCBA-823886390800}"/>
                    </a:ext>
                  </a:extLst>
                </p:cNvPr>
                <p:cNvCxnSpPr>
                  <a:cxnSpLocks/>
                  <a:stCxn id="182" idx="1"/>
                  <a:endCxn id="185" idx="4"/>
                </p:cNvCxnSpPr>
                <p:nvPr/>
              </p:nvCxnSpPr>
              <p:spPr>
                <a:xfrm flipH="1" flipV="1">
                  <a:off x="2531205" y="683615"/>
                  <a:ext cx="21150" cy="74538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6" name="Straight Connector 215">
                  <a:extLst>
                    <a:ext uri="{FF2B5EF4-FFF2-40B4-BE49-F238E27FC236}">
                      <a16:creationId xmlns:a16="http://schemas.microsoft.com/office/drawing/2014/main" id="{206D0605-B1D9-4A9A-AE04-F93B83065B84}"/>
                    </a:ext>
                  </a:extLst>
                </p:cNvPr>
                <p:cNvCxnSpPr>
                  <a:cxnSpLocks/>
                  <a:stCxn id="182" idx="1"/>
                  <a:endCxn id="186" idx="5"/>
                </p:cNvCxnSpPr>
                <p:nvPr/>
              </p:nvCxnSpPr>
              <p:spPr>
                <a:xfrm flipH="1" flipV="1">
                  <a:off x="2464660" y="677456"/>
                  <a:ext cx="87695" cy="80697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8" name="Straight Connector 217">
                  <a:extLst>
                    <a:ext uri="{FF2B5EF4-FFF2-40B4-BE49-F238E27FC236}">
                      <a16:creationId xmlns:a16="http://schemas.microsoft.com/office/drawing/2014/main" id="{6251D4B8-8A03-4B0A-A609-C0B0F0DF8275}"/>
                    </a:ext>
                  </a:extLst>
                </p:cNvPr>
                <p:cNvCxnSpPr>
                  <a:cxnSpLocks/>
                  <a:stCxn id="182" idx="1"/>
                  <a:endCxn id="187" idx="5"/>
                </p:cNvCxnSpPr>
                <p:nvPr/>
              </p:nvCxnSpPr>
              <p:spPr>
                <a:xfrm flipH="1" flipV="1">
                  <a:off x="2439035" y="743662"/>
                  <a:ext cx="113320" cy="14491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0" name="Straight Connector 219">
                  <a:extLst>
                    <a:ext uri="{FF2B5EF4-FFF2-40B4-BE49-F238E27FC236}">
                      <a16:creationId xmlns:a16="http://schemas.microsoft.com/office/drawing/2014/main" id="{B9CB758D-34D9-4F96-BDE1-6F4258A23E73}"/>
                    </a:ext>
                  </a:extLst>
                </p:cNvPr>
                <p:cNvCxnSpPr>
                  <a:cxnSpLocks/>
                  <a:stCxn id="182" idx="2"/>
                  <a:endCxn id="188" idx="6"/>
                </p:cNvCxnSpPr>
                <p:nvPr/>
              </p:nvCxnSpPr>
              <p:spPr>
                <a:xfrm flipH="1">
                  <a:off x="2492173" y="770881"/>
                  <a:ext cx="54910" cy="2335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2" name="Straight Connector 221">
                  <a:extLst>
                    <a:ext uri="{FF2B5EF4-FFF2-40B4-BE49-F238E27FC236}">
                      <a16:creationId xmlns:a16="http://schemas.microsoft.com/office/drawing/2014/main" id="{5D4CA383-ED2C-4FB3-BDD2-D9AD4B573129}"/>
                    </a:ext>
                  </a:extLst>
                </p:cNvPr>
                <p:cNvCxnSpPr>
                  <a:cxnSpLocks/>
                  <a:stCxn id="182" idx="3"/>
                  <a:endCxn id="189" idx="7"/>
                </p:cNvCxnSpPr>
                <p:nvPr/>
              </p:nvCxnSpPr>
              <p:spPr>
                <a:xfrm flipH="1">
                  <a:off x="2482439" y="783609"/>
                  <a:ext cx="69916" cy="84765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4" name="Straight Connector 223">
                  <a:extLst>
                    <a:ext uri="{FF2B5EF4-FFF2-40B4-BE49-F238E27FC236}">
                      <a16:creationId xmlns:a16="http://schemas.microsoft.com/office/drawing/2014/main" id="{120D7B04-4B64-462E-894D-CBF01E7F19C6}"/>
                    </a:ext>
                  </a:extLst>
                </p:cNvPr>
                <p:cNvCxnSpPr>
                  <a:cxnSpLocks/>
                  <a:stCxn id="182" idx="4"/>
                  <a:endCxn id="190" idx="7"/>
                </p:cNvCxnSpPr>
                <p:nvPr/>
              </p:nvCxnSpPr>
              <p:spPr>
                <a:xfrm flipH="1">
                  <a:off x="2552025" y="788881"/>
                  <a:ext cx="13058" cy="130394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6" name="Straight Connector 225">
                  <a:extLst>
                    <a:ext uri="{FF2B5EF4-FFF2-40B4-BE49-F238E27FC236}">
                      <a16:creationId xmlns:a16="http://schemas.microsoft.com/office/drawing/2014/main" id="{3C123467-77D7-4958-A86A-8B238694E563}"/>
                    </a:ext>
                  </a:extLst>
                </p:cNvPr>
                <p:cNvCxnSpPr>
                  <a:cxnSpLocks/>
                  <a:stCxn id="191" idx="0"/>
                  <a:endCxn id="182" idx="4"/>
                </p:cNvCxnSpPr>
                <p:nvPr/>
              </p:nvCxnSpPr>
              <p:spPr>
                <a:xfrm flipH="1" flipV="1">
                  <a:off x="2565083" y="788881"/>
                  <a:ext cx="37692" cy="92151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8" name="Straight Connector 227">
                  <a:extLst>
                    <a:ext uri="{FF2B5EF4-FFF2-40B4-BE49-F238E27FC236}">
                      <a16:creationId xmlns:a16="http://schemas.microsoft.com/office/drawing/2014/main" id="{28147D33-6B46-46BF-B6EF-64B91A889682}"/>
                    </a:ext>
                  </a:extLst>
                </p:cNvPr>
                <p:cNvCxnSpPr>
                  <a:cxnSpLocks/>
                  <a:stCxn id="192" idx="2"/>
                  <a:endCxn id="182" idx="5"/>
                </p:cNvCxnSpPr>
                <p:nvPr/>
              </p:nvCxnSpPr>
              <p:spPr>
                <a:xfrm flipH="1" flipV="1">
                  <a:off x="2577811" y="783609"/>
                  <a:ext cx="130226" cy="93985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0" name="Straight Connector 229">
                  <a:extLst>
                    <a:ext uri="{FF2B5EF4-FFF2-40B4-BE49-F238E27FC236}">
                      <a16:creationId xmlns:a16="http://schemas.microsoft.com/office/drawing/2014/main" id="{03F3BD90-432F-4EAC-8DA7-A928A021E79F}"/>
                    </a:ext>
                  </a:extLst>
                </p:cNvPr>
                <p:cNvCxnSpPr>
                  <a:cxnSpLocks/>
                  <a:stCxn id="197" idx="1"/>
                  <a:endCxn id="182" idx="6"/>
                </p:cNvCxnSpPr>
                <p:nvPr/>
              </p:nvCxnSpPr>
              <p:spPr>
                <a:xfrm flipH="1" flipV="1">
                  <a:off x="2583083" y="770881"/>
                  <a:ext cx="92652" cy="49867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2" name="Straight Connector 231">
                  <a:extLst>
                    <a:ext uri="{FF2B5EF4-FFF2-40B4-BE49-F238E27FC236}">
                      <a16:creationId xmlns:a16="http://schemas.microsoft.com/office/drawing/2014/main" id="{595CA24D-696C-486F-8F55-519ECAE0C288}"/>
                    </a:ext>
                  </a:extLst>
                </p:cNvPr>
                <p:cNvCxnSpPr>
                  <a:cxnSpLocks/>
                  <a:stCxn id="193" idx="2"/>
                  <a:endCxn id="182" idx="6"/>
                </p:cNvCxnSpPr>
                <p:nvPr/>
              </p:nvCxnSpPr>
              <p:spPr>
                <a:xfrm flipH="1" flipV="1">
                  <a:off x="2583083" y="770881"/>
                  <a:ext cx="158584" cy="378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5" name="Group 264">
                <a:extLst>
                  <a:ext uri="{FF2B5EF4-FFF2-40B4-BE49-F238E27FC236}">
                    <a16:creationId xmlns:a16="http://schemas.microsoft.com/office/drawing/2014/main" id="{980D7D4B-E84D-4762-92DB-5C6C7CC5AD99}"/>
                  </a:ext>
                </a:extLst>
              </p:cNvPr>
              <p:cNvGrpSpPr/>
              <p:nvPr/>
            </p:nvGrpSpPr>
            <p:grpSpPr>
              <a:xfrm>
                <a:off x="2750773" y="969629"/>
                <a:ext cx="1147938" cy="2035889"/>
                <a:chOff x="2063835" y="978367"/>
                <a:chExt cx="981651" cy="2035889"/>
              </a:xfrm>
            </p:grpSpPr>
            <p:sp>
              <p:nvSpPr>
                <p:cNvPr id="252" name="Rectangle 251">
                  <a:extLst>
                    <a:ext uri="{FF2B5EF4-FFF2-40B4-BE49-F238E27FC236}">
                      <a16:creationId xmlns:a16="http://schemas.microsoft.com/office/drawing/2014/main" id="{421965B5-C5A4-4930-B0B1-7899431F78B8}"/>
                    </a:ext>
                  </a:extLst>
                </p:cNvPr>
                <p:cNvSpPr/>
                <p:nvPr/>
              </p:nvSpPr>
              <p:spPr>
                <a:xfrm>
                  <a:off x="2063835" y="978367"/>
                  <a:ext cx="981651" cy="26962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800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istema Totalmente Centralizzato</a:t>
                  </a:r>
                </a:p>
              </p:txBody>
            </p:sp>
            <p:cxnSp>
              <p:nvCxnSpPr>
                <p:cNvPr id="253" name="Straight Connector 252">
                  <a:extLst>
                    <a:ext uri="{FF2B5EF4-FFF2-40B4-BE49-F238E27FC236}">
                      <a16:creationId xmlns:a16="http://schemas.microsoft.com/office/drawing/2014/main" id="{608618AE-3261-4B40-A68B-3D6AA9AD29B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063835" y="1269208"/>
                  <a:ext cx="981651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4" name="Rectangle 253">
                  <a:extLst>
                    <a:ext uri="{FF2B5EF4-FFF2-40B4-BE49-F238E27FC236}">
                      <a16:creationId xmlns:a16="http://schemas.microsoft.com/office/drawing/2014/main" id="{58CD5106-6DA3-455D-93D1-557D7C52EC15}"/>
                    </a:ext>
                  </a:extLst>
                </p:cNvPr>
                <p:cNvSpPr/>
                <p:nvPr/>
              </p:nvSpPr>
              <p:spPr>
                <a:xfrm>
                  <a:off x="2063835" y="1290429"/>
                  <a:ext cx="981651" cy="26962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800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Bassa resistenza alla censura</a:t>
                  </a:r>
                </a:p>
              </p:txBody>
            </p:sp>
            <p:sp>
              <p:nvSpPr>
                <p:cNvPr id="255" name="Rectangle 254">
                  <a:extLst>
                    <a:ext uri="{FF2B5EF4-FFF2-40B4-BE49-F238E27FC236}">
                      <a16:creationId xmlns:a16="http://schemas.microsoft.com/office/drawing/2014/main" id="{934E1DE0-948D-412D-8583-C44D979D9C9A}"/>
                    </a:ext>
                  </a:extLst>
                </p:cNvPr>
                <p:cNvSpPr/>
                <p:nvPr/>
              </p:nvSpPr>
              <p:spPr>
                <a:xfrm>
                  <a:off x="2063835" y="1581270"/>
                  <a:ext cx="981651" cy="26962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800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Bassa resistenza alla manomissione</a:t>
                  </a:r>
                </a:p>
              </p:txBody>
            </p:sp>
            <p:sp>
              <p:nvSpPr>
                <p:cNvPr id="256" name="Rectangle 255">
                  <a:extLst>
                    <a:ext uri="{FF2B5EF4-FFF2-40B4-BE49-F238E27FC236}">
                      <a16:creationId xmlns:a16="http://schemas.microsoft.com/office/drawing/2014/main" id="{ECC34577-D0C6-4FD5-98F5-03B4B3BA8C18}"/>
                    </a:ext>
                  </a:extLst>
                </p:cNvPr>
                <p:cNvSpPr/>
                <p:nvPr/>
              </p:nvSpPr>
              <p:spPr>
                <a:xfrm>
                  <a:off x="2063835" y="1872111"/>
                  <a:ext cx="981651" cy="26962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800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Alto bisogno di fiducia nel sistema</a:t>
                  </a:r>
                </a:p>
              </p:txBody>
            </p:sp>
            <p:sp>
              <p:nvSpPr>
                <p:cNvPr id="257" name="Rectangle 256">
                  <a:extLst>
                    <a:ext uri="{FF2B5EF4-FFF2-40B4-BE49-F238E27FC236}">
                      <a16:creationId xmlns:a16="http://schemas.microsoft.com/office/drawing/2014/main" id="{0D7136CA-A96C-4E54-B0CD-872D70FF9826}"/>
                    </a:ext>
                  </a:extLst>
                </p:cNvPr>
                <p:cNvSpPr/>
                <p:nvPr/>
              </p:nvSpPr>
              <p:spPr>
                <a:xfrm>
                  <a:off x="2063835" y="2162952"/>
                  <a:ext cx="981651" cy="26962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800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Alta capacità di lavorazione</a:t>
                  </a:r>
                </a:p>
              </p:txBody>
            </p:sp>
            <p:sp>
              <p:nvSpPr>
                <p:cNvPr id="258" name="Rectangle 257">
                  <a:extLst>
                    <a:ext uri="{FF2B5EF4-FFF2-40B4-BE49-F238E27FC236}">
                      <a16:creationId xmlns:a16="http://schemas.microsoft.com/office/drawing/2014/main" id="{4FEA572D-0A20-472F-BBAF-88B4ADECF7EE}"/>
                    </a:ext>
                  </a:extLst>
                </p:cNvPr>
                <p:cNvSpPr/>
                <p:nvPr/>
              </p:nvSpPr>
              <p:spPr>
                <a:xfrm>
                  <a:off x="2063835" y="2453793"/>
                  <a:ext cx="981651" cy="26962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800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Basso overhead</a:t>
                  </a:r>
                </a:p>
              </p:txBody>
            </p:sp>
            <p:sp>
              <p:nvSpPr>
                <p:cNvPr id="259" name="Rectangle 258">
                  <a:extLst>
                    <a:ext uri="{FF2B5EF4-FFF2-40B4-BE49-F238E27FC236}">
                      <a16:creationId xmlns:a16="http://schemas.microsoft.com/office/drawing/2014/main" id="{5D59AB11-FF30-41C3-B196-0C836A9F7075}"/>
                    </a:ext>
                  </a:extLst>
                </p:cNvPr>
                <p:cNvSpPr/>
                <p:nvPr/>
              </p:nvSpPr>
              <p:spPr>
                <a:xfrm>
                  <a:off x="2063835" y="2744636"/>
                  <a:ext cx="981651" cy="26962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800" dirty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Bassa inefficienza delle risorse</a:t>
                  </a:r>
                </a:p>
              </p:txBody>
            </p:sp>
          </p:grpSp>
        </p:grpSp>
        <p:sp>
          <p:nvSpPr>
            <p:cNvPr id="269" name="Rectangle 268">
              <a:extLst>
                <a:ext uri="{FF2B5EF4-FFF2-40B4-BE49-F238E27FC236}">
                  <a16:creationId xmlns:a16="http://schemas.microsoft.com/office/drawing/2014/main" id="{4A87851B-D6F1-4174-A7F3-E1A83C69DA53}"/>
                </a:ext>
              </a:extLst>
            </p:cNvPr>
            <p:cNvSpPr/>
            <p:nvPr/>
          </p:nvSpPr>
          <p:spPr>
            <a:xfrm>
              <a:off x="1778758" y="1427002"/>
              <a:ext cx="1677242" cy="45719"/>
            </a:xfrm>
            <a:prstGeom prst="rect">
              <a:avLst/>
            </a:prstGeom>
            <a:gradFill>
              <a:gsLst>
                <a:gs pos="0">
                  <a:schemeClr val="tx1"/>
                </a:gs>
                <a:gs pos="100000">
                  <a:srgbClr val="EBEBEB"/>
                </a:gs>
              </a:gsLst>
              <a:lin ang="108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69" name="Rectangle 368">
              <a:extLst>
                <a:ext uri="{FF2B5EF4-FFF2-40B4-BE49-F238E27FC236}">
                  <a16:creationId xmlns:a16="http://schemas.microsoft.com/office/drawing/2014/main" id="{02F4C7E2-80BE-43CF-A4B6-1011D554D283}"/>
                </a:ext>
              </a:extLst>
            </p:cNvPr>
            <p:cNvSpPr/>
            <p:nvPr/>
          </p:nvSpPr>
          <p:spPr>
            <a:xfrm>
              <a:off x="1778758" y="1708261"/>
              <a:ext cx="1677242" cy="45719"/>
            </a:xfrm>
            <a:prstGeom prst="rect">
              <a:avLst/>
            </a:prstGeom>
            <a:gradFill>
              <a:gsLst>
                <a:gs pos="0">
                  <a:schemeClr val="tx1"/>
                </a:gs>
                <a:gs pos="100000">
                  <a:srgbClr val="EBEBEB"/>
                </a:gs>
              </a:gsLst>
              <a:lin ang="108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70" name="Rectangle 369">
              <a:extLst>
                <a:ext uri="{FF2B5EF4-FFF2-40B4-BE49-F238E27FC236}">
                  <a16:creationId xmlns:a16="http://schemas.microsoft.com/office/drawing/2014/main" id="{7335D23B-C24B-4A2E-8374-7B8A514A19D4}"/>
                </a:ext>
              </a:extLst>
            </p:cNvPr>
            <p:cNvSpPr/>
            <p:nvPr/>
          </p:nvSpPr>
          <p:spPr>
            <a:xfrm>
              <a:off x="1778758" y="2008494"/>
              <a:ext cx="1677242" cy="45719"/>
            </a:xfrm>
            <a:prstGeom prst="rect">
              <a:avLst/>
            </a:prstGeom>
            <a:gradFill>
              <a:gsLst>
                <a:gs pos="0">
                  <a:schemeClr val="tx1"/>
                </a:gs>
                <a:gs pos="100000">
                  <a:srgbClr val="EBEBEB"/>
                </a:gs>
              </a:gsLst>
              <a:lin ang="108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71" name="Rectangle 370">
              <a:extLst>
                <a:ext uri="{FF2B5EF4-FFF2-40B4-BE49-F238E27FC236}">
                  <a16:creationId xmlns:a16="http://schemas.microsoft.com/office/drawing/2014/main" id="{913A7436-41F9-44D2-ABE0-C112579081FA}"/>
                </a:ext>
              </a:extLst>
            </p:cNvPr>
            <p:cNvSpPr/>
            <p:nvPr/>
          </p:nvSpPr>
          <p:spPr>
            <a:xfrm>
              <a:off x="1778758" y="2312897"/>
              <a:ext cx="1677242" cy="45719"/>
            </a:xfrm>
            <a:prstGeom prst="rect">
              <a:avLst/>
            </a:prstGeom>
            <a:gradFill flip="none" rotWithShape="1">
              <a:gsLst>
                <a:gs pos="0">
                  <a:srgbClr val="EBEBEB"/>
                </a:gs>
                <a:gs pos="100000">
                  <a:schemeClr val="tx1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72" name="Rectangle 371">
              <a:extLst>
                <a:ext uri="{FF2B5EF4-FFF2-40B4-BE49-F238E27FC236}">
                  <a16:creationId xmlns:a16="http://schemas.microsoft.com/office/drawing/2014/main" id="{04C9E899-9CCB-4CC5-809D-FAA4B114BA35}"/>
                </a:ext>
              </a:extLst>
            </p:cNvPr>
            <p:cNvSpPr/>
            <p:nvPr/>
          </p:nvSpPr>
          <p:spPr>
            <a:xfrm>
              <a:off x="1778758" y="2576918"/>
              <a:ext cx="1677242" cy="45719"/>
            </a:xfrm>
            <a:prstGeom prst="rect">
              <a:avLst/>
            </a:prstGeom>
            <a:gradFill flip="none" rotWithShape="1">
              <a:gsLst>
                <a:gs pos="0">
                  <a:srgbClr val="EBEBEB"/>
                </a:gs>
                <a:gs pos="100000">
                  <a:schemeClr val="tx1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73" name="Rectangle 372">
              <a:extLst>
                <a:ext uri="{FF2B5EF4-FFF2-40B4-BE49-F238E27FC236}">
                  <a16:creationId xmlns:a16="http://schemas.microsoft.com/office/drawing/2014/main" id="{4CAFDA44-CC99-4A0D-88A3-3BEFF8D8841D}"/>
                </a:ext>
              </a:extLst>
            </p:cNvPr>
            <p:cNvSpPr/>
            <p:nvPr/>
          </p:nvSpPr>
          <p:spPr>
            <a:xfrm>
              <a:off x="1778758" y="2852332"/>
              <a:ext cx="1677242" cy="45719"/>
            </a:xfrm>
            <a:prstGeom prst="rect">
              <a:avLst/>
            </a:prstGeom>
            <a:gradFill flip="none" rotWithShape="1">
              <a:gsLst>
                <a:gs pos="0">
                  <a:srgbClr val="EBEBEB"/>
                </a:gs>
                <a:gs pos="100000">
                  <a:schemeClr val="tx1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74" name="Rectangle 373">
              <a:extLst>
                <a:ext uri="{FF2B5EF4-FFF2-40B4-BE49-F238E27FC236}">
                  <a16:creationId xmlns:a16="http://schemas.microsoft.com/office/drawing/2014/main" id="{26C1B5E2-D49F-4651-A075-AF989EB87244}"/>
                </a:ext>
              </a:extLst>
            </p:cNvPr>
            <p:cNvSpPr/>
            <p:nvPr/>
          </p:nvSpPr>
          <p:spPr>
            <a:xfrm>
              <a:off x="1537739" y="3159380"/>
              <a:ext cx="1192119" cy="2696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8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iù desiderabile</a:t>
              </a:r>
            </a:p>
          </p:txBody>
        </p:sp>
        <p:sp>
          <p:nvSpPr>
            <p:cNvPr id="375" name="Rectangle 374">
              <a:extLst>
                <a:ext uri="{FF2B5EF4-FFF2-40B4-BE49-F238E27FC236}">
                  <a16:creationId xmlns:a16="http://schemas.microsoft.com/office/drawing/2014/main" id="{046C9FE4-3746-4E9D-8583-D063186C5252}"/>
                </a:ext>
              </a:extLst>
            </p:cNvPr>
            <p:cNvSpPr/>
            <p:nvPr/>
          </p:nvSpPr>
          <p:spPr>
            <a:xfrm>
              <a:off x="2551579" y="3159380"/>
              <a:ext cx="1192119" cy="2696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8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eno desiderabile</a:t>
              </a:r>
            </a:p>
          </p:txBody>
        </p:sp>
        <p:sp>
          <p:nvSpPr>
            <p:cNvPr id="376" name="Rectangle 375">
              <a:extLst>
                <a:ext uri="{FF2B5EF4-FFF2-40B4-BE49-F238E27FC236}">
                  <a16:creationId xmlns:a16="http://schemas.microsoft.com/office/drawing/2014/main" id="{55354FE6-5780-4D92-8478-5B54BEE06154}"/>
                </a:ext>
              </a:extLst>
            </p:cNvPr>
            <p:cNvSpPr/>
            <p:nvPr/>
          </p:nvSpPr>
          <p:spPr>
            <a:xfrm>
              <a:off x="1671895" y="3257774"/>
              <a:ext cx="75062" cy="75062"/>
            </a:xfrm>
            <a:prstGeom prst="rect">
              <a:avLst/>
            </a:prstGeom>
            <a:solidFill>
              <a:srgbClr val="EBEBEB"/>
            </a:solidFill>
            <a:ln>
              <a:solidFill>
                <a:srgbClr val="EBEB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77" name="Rectangle 376">
              <a:extLst>
                <a:ext uri="{FF2B5EF4-FFF2-40B4-BE49-F238E27FC236}">
                  <a16:creationId xmlns:a16="http://schemas.microsoft.com/office/drawing/2014/main" id="{3322A8AC-45A3-41DE-803C-4FF4F72F3290}"/>
                </a:ext>
              </a:extLst>
            </p:cNvPr>
            <p:cNvSpPr/>
            <p:nvPr/>
          </p:nvSpPr>
          <p:spPr>
            <a:xfrm>
              <a:off x="2654796" y="3256659"/>
              <a:ext cx="75062" cy="75062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sp>
        <p:nvSpPr>
          <p:cNvPr id="379" name="Oval 378">
            <a:extLst>
              <a:ext uri="{FF2B5EF4-FFF2-40B4-BE49-F238E27FC236}">
                <a16:creationId xmlns:a16="http://schemas.microsoft.com/office/drawing/2014/main" id="{CA24B44E-AC11-4BF6-84E0-2F6373FDE386}"/>
              </a:ext>
            </a:extLst>
          </p:cNvPr>
          <p:cNvSpPr/>
          <p:nvPr/>
        </p:nvSpPr>
        <p:spPr>
          <a:xfrm>
            <a:off x="874334" y="4258648"/>
            <a:ext cx="36417" cy="3641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14091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8A3E4D2-EAB5-445B-9848-5BEF20E53434}"/>
              </a:ext>
            </a:extLst>
          </p:cNvPr>
          <p:cNvSpPr/>
          <p:nvPr/>
        </p:nvSpPr>
        <p:spPr>
          <a:xfrm>
            <a:off x="1614115" y="2250220"/>
            <a:ext cx="3427454" cy="30214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Gateway: interfaccia al sistema DLT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721579FA-6C4D-4E47-8FFA-C63A6CDA0EEC}"/>
              </a:ext>
            </a:extLst>
          </p:cNvPr>
          <p:cNvSpPr/>
          <p:nvPr/>
        </p:nvSpPr>
        <p:spPr>
          <a:xfrm>
            <a:off x="531372" y="453226"/>
            <a:ext cx="866693" cy="397565"/>
          </a:xfrm>
          <a:prstGeom prst="roundRect">
            <a:avLst>
              <a:gd name="adj" fmla="val 24667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tenuto registrato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2FA343DB-6838-4CA3-8ABF-BB336D0B02DD}"/>
              </a:ext>
            </a:extLst>
          </p:cNvPr>
          <p:cNvSpPr/>
          <p:nvPr/>
        </p:nvSpPr>
        <p:spPr>
          <a:xfrm>
            <a:off x="531372" y="1535928"/>
            <a:ext cx="866693" cy="397565"/>
          </a:xfrm>
          <a:prstGeom prst="roundRect">
            <a:avLst>
              <a:gd name="adj" fmla="val 24667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istemi esterni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BB7D65E-0C37-459A-B4AE-15B93537E9E5}"/>
              </a:ext>
            </a:extLst>
          </p:cNvPr>
          <p:cNvGrpSpPr/>
          <p:nvPr/>
        </p:nvGrpSpPr>
        <p:grpSpPr>
          <a:xfrm>
            <a:off x="1789044" y="111429"/>
            <a:ext cx="1033670" cy="890277"/>
            <a:chOff x="1860730" y="87733"/>
            <a:chExt cx="1033670" cy="890277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51ED33DA-ECB9-48FC-B0E9-37EC121CBBA6}"/>
                </a:ext>
              </a:extLst>
            </p:cNvPr>
            <p:cNvSpPr/>
            <p:nvPr/>
          </p:nvSpPr>
          <p:spPr>
            <a:xfrm>
              <a:off x="1892410" y="326005"/>
              <a:ext cx="866693" cy="652005"/>
            </a:xfrm>
            <a:prstGeom prst="roundRect">
              <a:avLst/>
            </a:prstGeom>
            <a:noFill/>
            <a:ln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7" name="Graphic 6" descr="Gold bars outline">
              <a:extLst>
                <a:ext uri="{FF2B5EF4-FFF2-40B4-BE49-F238E27FC236}">
                  <a16:creationId xmlns:a16="http://schemas.microsoft.com/office/drawing/2014/main" id="{9A97204D-D1CD-44C1-937F-67D05202E4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65975" y="333955"/>
              <a:ext cx="318052" cy="318052"/>
            </a:xfrm>
            <a:prstGeom prst="rect">
              <a:avLst/>
            </a:prstGeom>
          </p:spPr>
        </p:pic>
        <p:pic>
          <p:nvPicPr>
            <p:cNvPr id="9" name="Graphic 8" descr="Diamond outline">
              <a:extLst>
                <a:ext uri="{FF2B5EF4-FFF2-40B4-BE49-F238E27FC236}">
                  <a16:creationId xmlns:a16="http://schemas.microsoft.com/office/drawing/2014/main" id="{61A50F0C-119C-4DB0-9839-EA0007F216F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377565" y="364007"/>
              <a:ext cx="288000" cy="288000"/>
            </a:xfrm>
            <a:prstGeom prst="rect">
              <a:avLst/>
            </a:prstGeom>
          </p:spPr>
        </p:pic>
        <p:pic>
          <p:nvPicPr>
            <p:cNvPr id="11" name="Graphic 10" descr="Home outline">
              <a:extLst>
                <a:ext uri="{FF2B5EF4-FFF2-40B4-BE49-F238E27FC236}">
                  <a16:creationId xmlns:a16="http://schemas.microsoft.com/office/drawing/2014/main" id="{A0D2F5C0-5243-48B6-9C31-E59B891B4E1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965975" y="652007"/>
              <a:ext cx="302400" cy="302400"/>
            </a:xfrm>
            <a:prstGeom prst="rect">
              <a:avLst/>
            </a:prstGeom>
          </p:spPr>
        </p:pic>
        <p:pic>
          <p:nvPicPr>
            <p:cNvPr id="13" name="Graphic 12" descr="Car outline">
              <a:extLst>
                <a:ext uri="{FF2B5EF4-FFF2-40B4-BE49-F238E27FC236}">
                  <a16:creationId xmlns:a16="http://schemas.microsoft.com/office/drawing/2014/main" id="{EED1D8FB-AABD-464E-B90E-B4604CBEFE0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377565" y="690009"/>
              <a:ext cx="288000" cy="288000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F4CEF87-7597-4822-8D87-A686D9832785}"/>
                </a:ext>
              </a:extLst>
            </p:cNvPr>
            <p:cNvSpPr txBox="1"/>
            <p:nvPr/>
          </p:nvSpPr>
          <p:spPr>
            <a:xfrm>
              <a:off x="1860730" y="87733"/>
              <a:ext cx="103367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Non monetario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0C5C491-CB51-45CC-9574-ECD9966BD6AA}"/>
              </a:ext>
            </a:extLst>
          </p:cNvPr>
          <p:cNvGrpSpPr/>
          <p:nvPr/>
        </p:nvGrpSpPr>
        <p:grpSpPr>
          <a:xfrm>
            <a:off x="2880000" y="111415"/>
            <a:ext cx="1033670" cy="890304"/>
            <a:chOff x="2822714" y="111415"/>
            <a:chExt cx="1033670" cy="890304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A3B3CA5-578F-4914-B0A5-C51302843F3C}"/>
                </a:ext>
              </a:extLst>
            </p:cNvPr>
            <p:cNvSpPr txBox="1"/>
            <p:nvPr/>
          </p:nvSpPr>
          <p:spPr>
            <a:xfrm>
              <a:off x="2822714" y="111415"/>
              <a:ext cx="103367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nformazione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9EFBD381-9EF3-4F9F-8760-C54237443093}"/>
                </a:ext>
              </a:extLst>
            </p:cNvPr>
            <p:cNvGrpSpPr/>
            <p:nvPr/>
          </p:nvGrpSpPr>
          <p:grpSpPr>
            <a:xfrm>
              <a:off x="2906203" y="349714"/>
              <a:ext cx="866693" cy="652005"/>
              <a:chOff x="2925251" y="378034"/>
              <a:chExt cx="866693" cy="652005"/>
            </a:xfrm>
          </p:grpSpPr>
          <p:sp>
            <p:nvSpPr>
              <p:cNvPr id="17" name="Rectangle: Rounded Corners 16">
                <a:extLst>
                  <a:ext uri="{FF2B5EF4-FFF2-40B4-BE49-F238E27FC236}">
                    <a16:creationId xmlns:a16="http://schemas.microsoft.com/office/drawing/2014/main" id="{BCED326A-18DF-4E2F-A4B5-1A8D8EF5FD35}"/>
                  </a:ext>
                </a:extLst>
              </p:cNvPr>
              <p:cNvSpPr/>
              <p:nvPr/>
            </p:nvSpPr>
            <p:spPr>
              <a:xfrm>
                <a:off x="2925251" y="378034"/>
                <a:ext cx="866693" cy="652005"/>
              </a:xfrm>
              <a:prstGeom prst="roundRect">
                <a:avLst/>
              </a:prstGeom>
              <a:noFill/>
              <a:ln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BB506F84-DC0D-49BE-859B-885BDAB4F620}"/>
                  </a:ext>
                </a:extLst>
              </p:cNvPr>
              <p:cNvGrpSpPr/>
              <p:nvPr/>
            </p:nvGrpSpPr>
            <p:grpSpPr>
              <a:xfrm>
                <a:off x="2971738" y="440702"/>
                <a:ext cx="773718" cy="526668"/>
                <a:chOff x="2927366" y="409332"/>
                <a:chExt cx="773718" cy="526668"/>
              </a:xfrm>
            </p:grpSpPr>
            <p:grpSp>
              <p:nvGrpSpPr>
                <p:cNvPr id="27" name="Group 26">
                  <a:extLst>
                    <a:ext uri="{FF2B5EF4-FFF2-40B4-BE49-F238E27FC236}">
                      <a16:creationId xmlns:a16="http://schemas.microsoft.com/office/drawing/2014/main" id="{CE5167BE-3BE1-4BF8-910C-86A237DA91ED}"/>
                    </a:ext>
                  </a:extLst>
                </p:cNvPr>
                <p:cNvGrpSpPr/>
                <p:nvPr/>
              </p:nvGrpSpPr>
              <p:grpSpPr>
                <a:xfrm>
                  <a:off x="2927366" y="409332"/>
                  <a:ext cx="773718" cy="288000"/>
                  <a:chOff x="2945082" y="380196"/>
                  <a:chExt cx="773718" cy="288000"/>
                </a:xfrm>
              </p:grpSpPr>
              <p:pic>
                <p:nvPicPr>
                  <p:cNvPr id="24" name="Graphic 23" descr="Binary outline">
                    <a:extLst>
                      <a:ext uri="{FF2B5EF4-FFF2-40B4-BE49-F238E27FC236}">
                        <a16:creationId xmlns:a16="http://schemas.microsoft.com/office/drawing/2014/main" id="{43446CAF-DF57-490B-9EB1-983F4FCEA19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1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945082" y="380196"/>
                    <a:ext cx="288000" cy="288000"/>
                  </a:xfrm>
                  <a:prstGeom prst="rect">
                    <a:avLst/>
                  </a:prstGeom>
                </p:spPr>
              </p:pic>
              <p:pic>
                <p:nvPicPr>
                  <p:cNvPr id="25" name="Graphic 24" descr="Binary outline">
                    <a:extLst>
                      <a:ext uri="{FF2B5EF4-FFF2-40B4-BE49-F238E27FC236}">
                        <a16:creationId xmlns:a16="http://schemas.microsoft.com/office/drawing/2014/main" id="{2E979CFF-83BA-4A75-B5F0-9A3E6BD1210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1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186000" y="380196"/>
                    <a:ext cx="288000" cy="288000"/>
                  </a:xfrm>
                  <a:prstGeom prst="rect">
                    <a:avLst/>
                  </a:prstGeom>
                </p:spPr>
              </p:pic>
              <p:pic>
                <p:nvPicPr>
                  <p:cNvPr id="26" name="Graphic 25" descr="Binary outline">
                    <a:extLst>
                      <a:ext uri="{FF2B5EF4-FFF2-40B4-BE49-F238E27FC236}">
                        <a16:creationId xmlns:a16="http://schemas.microsoft.com/office/drawing/2014/main" id="{54EFD349-7D6D-48A9-B694-F817E663552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1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430800" y="380196"/>
                    <a:ext cx="288000" cy="288000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28" name="Group 27">
                  <a:extLst>
                    <a:ext uri="{FF2B5EF4-FFF2-40B4-BE49-F238E27FC236}">
                      <a16:creationId xmlns:a16="http://schemas.microsoft.com/office/drawing/2014/main" id="{DECA95CA-0B67-4697-A50B-A40388A3C5F7}"/>
                    </a:ext>
                  </a:extLst>
                </p:cNvPr>
                <p:cNvGrpSpPr/>
                <p:nvPr/>
              </p:nvGrpSpPr>
              <p:grpSpPr>
                <a:xfrm>
                  <a:off x="2927366" y="648000"/>
                  <a:ext cx="773718" cy="288000"/>
                  <a:chOff x="2945082" y="380196"/>
                  <a:chExt cx="773718" cy="288000"/>
                </a:xfrm>
              </p:grpSpPr>
              <p:pic>
                <p:nvPicPr>
                  <p:cNvPr id="29" name="Graphic 28" descr="Binary outline">
                    <a:extLst>
                      <a:ext uri="{FF2B5EF4-FFF2-40B4-BE49-F238E27FC236}">
                        <a16:creationId xmlns:a16="http://schemas.microsoft.com/office/drawing/2014/main" id="{7F54DC70-165B-4C31-BE6F-01E0380D827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1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945082" y="380196"/>
                    <a:ext cx="288000" cy="288000"/>
                  </a:xfrm>
                  <a:prstGeom prst="rect">
                    <a:avLst/>
                  </a:prstGeom>
                </p:spPr>
              </p:pic>
              <p:pic>
                <p:nvPicPr>
                  <p:cNvPr id="30" name="Graphic 29" descr="Binary outline">
                    <a:extLst>
                      <a:ext uri="{FF2B5EF4-FFF2-40B4-BE49-F238E27FC236}">
                        <a16:creationId xmlns:a16="http://schemas.microsoft.com/office/drawing/2014/main" id="{C950AB8A-9125-4D1F-9935-EB960C996E1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1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186000" y="380196"/>
                    <a:ext cx="288000" cy="288000"/>
                  </a:xfrm>
                  <a:prstGeom prst="rect">
                    <a:avLst/>
                  </a:prstGeom>
                </p:spPr>
              </p:pic>
              <p:pic>
                <p:nvPicPr>
                  <p:cNvPr id="31" name="Graphic 30" descr="Binary outline">
                    <a:extLst>
                      <a:ext uri="{FF2B5EF4-FFF2-40B4-BE49-F238E27FC236}">
                        <a16:creationId xmlns:a16="http://schemas.microsoft.com/office/drawing/2014/main" id="{14C50579-C687-410E-A962-FD3D73B672D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1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430800" y="380196"/>
                    <a:ext cx="288000" cy="288000"/>
                  </a:xfrm>
                  <a:prstGeom prst="rect">
                    <a:avLst/>
                  </a:prstGeom>
                </p:spPr>
              </p:pic>
            </p:grpSp>
          </p:grpSp>
        </p:grpSp>
      </p:grp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94A9FECE-15AE-4D79-947B-B8ECBA5AF8DD}"/>
              </a:ext>
            </a:extLst>
          </p:cNvPr>
          <p:cNvSpPr/>
          <p:nvPr/>
        </p:nvSpPr>
        <p:spPr>
          <a:xfrm>
            <a:off x="4089758" y="349515"/>
            <a:ext cx="866693" cy="652005"/>
          </a:xfrm>
          <a:prstGeom prst="roundRect">
            <a:avLst/>
          </a:prstGeom>
          <a:noFill/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37" name="Graphic 36" descr="Dollar outline">
            <a:extLst>
              <a:ext uri="{FF2B5EF4-FFF2-40B4-BE49-F238E27FC236}">
                <a16:creationId xmlns:a16="http://schemas.microsoft.com/office/drawing/2014/main" id="{C4114F6E-BB5E-45E6-A50B-E02FEA12EE1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4163323" y="357465"/>
            <a:ext cx="318052" cy="318052"/>
          </a:xfrm>
          <a:prstGeom prst="rect">
            <a:avLst/>
          </a:prstGeom>
        </p:spPr>
      </p:pic>
      <p:pic>
        <p:nvPicPr>
          <p:cNvPr id="38" name="Graphic 37" descr="Bank check with solid fill">
            <a:extLst>
              <a:ext uri="{FF2B5EF4-FFF2-40B4-BE49-F238E27FC236}">
                <a16:creationId xmlns:a16="http://schemas.microsoft.com/office/drawing/2014/main" id="{03926F8D-4DDC-4F1E-9F8B-31CF3253D34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4574913" y="387517"/>
            <a:ext cx="288000" cy="288000"/>
          </a:xfrm>
          <a:prstGeom prst="rect">
            <a:avLst/>
          </a:prstGeom>
        </p:spPr>
      </p:pic>
      <p:pic>
        <p:nvPicPr>
          <p:cNvPr id="39" name="Graphic 38" descr="Safe outline">
            <a:extLst>
              <a:ext uri="{FF2B5EF4-FFF2-40B4-BE49-F238E27FC236}">
                <a16:creationId xmlns:a16="http://schemas.microsoft.com/office/drawing/2014/main" id="{D1039C13-3056-433B-AE46-1E98D9131D2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4163323" y="675517"/>
            <a:ext cx="302400" cy="302400"/>
          </a:xfrm>
          <a:prstGeom prst="rect">
            <a:avLst/>
          </a:prstGeom>
        </p:spPr>
      </p:pic>
      <p:pic>
        <p:nvPicPr>
          <p:cNvPr id="40" name="Graphic 39" descr="Flying Money outline">
            <a:extLst>
              <a:ext uri="{FF2B5EF4-FFF2-40B4-BE49-F238E27FC236}">
                <a16:creationId xmlns:a16="http://schemas.microsoft.com/office/drawing/2014/main" id="{69958777-5AE1-49E4-887B-D16CA9DE22F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/>
          <a:stretch/>
        </p:blipFill>
        <p:spPr>
          <a:xfrm>
            <a:off x="4574913" y="684000"/>
            <a:ext cx="288000" cy="288000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2BAA77E2-40C7-4790-9F25-A5424762787C}"/>
              </a:ext>
            </a:extLst>
          </p:cNvPr>
          <p:cNvSpPr txBox="1"/>
          <p:nvPr/>
        </p:nvSpPr>
        <p:spPr>
          <a:xfrm>
            <a:off x="4007899" y="111243"/>
            <a:ext cx="10336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netario</a:t>
            </a: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03CF6DB1-C114-489E-AB32-DD70D0FBE6C3}"/>
              </a:ext>
            </a:extLst>
          </p:cNvPr>
          <p:cNvGrpSpPr/>
          <p:nvPr/>
        </p:nvGrpSpPr>
        <p:grpSpPr>
          <a:xfrm>
            <a:off x="1526874" y="1241396"/>
            <a:ext cx="1033670" cy="754881"/>
            <a:chOff x="1526874" y="1239978"/>
            <a:chExt cx="1033670" cy="754881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B3163C7C-5DED-4CCB-A3E7-CE81E6EEFFF8}"/>
                </a:ext>
              </a:extLst>
            </p:cNvPr>
            <p:cNvGrpSpPr/>
            <p:nvPr/>
          </p:nvGrpSpPr>
          <p:grpSpPr>
            <a:xfrm>
              <a:off x="1526874" y="1239978"/>
              <a:ext cx="1033670" cy="754881"/>
              <a:chOff x="1858607" y="77692"/>
              <a:chExt cx="1232818" cy="900318"/>
            </a:xfrm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911ADBE-F5B5-47BE-859E-449B1E48C247}"/>
                  </a:ext>
                </a:extLst>
              </p:cNvPr>
              <p:cNvSpPr/>
              <p:nvPr/>
            </p:nvSpPr>
            <p:spPr>
              <a:xfrm>
                <a:off x="2043793" y="326005"/>
                <a:ext cx="866693" cy="652005"/>
              </a:xfrm>
              <a:prstGeom prst="roundRect">
                <a:avLst/>
              </a:prstGeom>
              <a:noFill/>
              <a:ln>
                <a:solidFill>
                  <a:schemeClr val="tx1"/>
                </a:solidFill>
                <a:prstDash val="lgDash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dirty="0"/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5727A337-A8D4-4E73-A461-D4BB9EF948E5}"/>
                  </a:ext>
                </a:extLst>
              </p:cNvPr>
              <p:cNvSpPr txBox="1"/>
              <p:nvPr/>
            </p:nvSpPr>
            <p:spPr>
              <a:xfrm>
                <a:off x="1858607" y="77692"/>
                <a:ext cx="1232818" cy="29365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1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istemi DLT</a:t>
                </a:r>
              </a:p>
            </p:txBody>
          </p:sp>
        </p:grp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67118D7A-4724-4BE0-9B74-9EB454921432}"/>
                </a:ext>
              </a:extLst>
            </p:cNvPr>
            <p:cNvGrpSpPr/>
            <p:nvPr/>
          </p:nvGrpSpPr>
          <p:grpSpPr>
            <a:xfrm>
              <a:off x="1835250" y="1507030"/>
              <a:ext cx="420479" cy="374739"/>
              <a:chOff x="1851799" y="1567673"/>
              <a:chExt cx="420479" cy="374739"/>
            </a:xfrm>
          </p:grpSpPr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F2CD42A6-2616-4E9F-88D6-5E68AF8DB8B9}"/>
                  </a:ext>
                </a:extLst>
              </p:cNvPr>
              <p:cNvSpPr/>
              <p:nvPr/>
            </p:nvSpPr>
            <p:spPr>
              <a:xfrm>
                <a:off x="1894289" y="1567673"/>
                <a:ext cx="36417" cy="36417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sz="9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2B18B21E-AA1A-4293-A5E9-B2D5324BFDAE}"/>
                  </a:ext>
                </a:extLst>
              </p:cNvPr>
              <p:cNvSpPr/>
              <p:nvPr/>
            </p:nvSpPr>
            <p:spPr>
              <a:xfrm>
                <a:off x="2175924" y="1604090"/>
                <a:ext cx="36417" cy="36417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sz="9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98820BDE-D756-44A7-9E87-1184E6E03346}"/>
                  </a:ext>
                </a:extLst>
              </p:cNvPr>
              <p:cNvSpPr/>
              <p:nvPr/>
            </p:nvSpPr>
            <p:spPr>
              <a:xfrm>
                <a:off x="2235861" y="1791174"/>
                <a:ext cx="36417" cy="36417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sz="9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F255FEC2-7C5C-41F8-BD7B-4FFB0F30887F}"/>
                  </a:ext>
                </a:extLst>
              </p:cNvPr>
              <p:cNvSpPr/>
              <p:nvPr/>
            </p:nvSpPr>
            <p:spPr>
              <a:xfrm>
                <a:off x="2029174" y="1905995"/>
                <a:ext cx="36417" cy="36417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sz="9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C90FF3F8-EE4A-404F-96C2-AE999710926F}"/>
                  </a:ext>
                </a:extLst>
              </p:cNvPr>
              <p:cNvSpPr/>
              <p:nvPr/>
            </p:nvSpPr>
            <p:spPr>
              <a:xfrm>
                <a:off x="1851799" y="1780803"/>
                <a:ext cx="36417" cy="36417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sz="9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7AD4A7BF-6CFE-4B16-9B4C-7E1F744318CB}"/>
                  </a:ext>
                </a:extLst>
              </p:cNvPr>
              <p:cNvSpPr/>
              <p:nvPr/>
            </p:nvSpPr>
            <p:spPr>
              <a:xfrm>
                <a:off x="2029174" y="1757762"/>
                <a:ext cx="36417" cy="36417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sz="9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BF4AEAB6-190A-4A9B-BFB7-B8677D37838C}"/>
                  </a:ext>
                </a:extLst>
              </p:cNvPr>
              <p:cNvCxnSpPr>
                <a:cxnSpLocks/>
                <a:stCxn id="56" idx="6"/>
                <a:endCxn id="57" idx="2"/>
              </p:cNvCxnSpPr>
              <p:nvPr/>
            </p:nvCxnSpPr>
            <p:spPr>
              <a:xfrm>
                <a:off x="1930706" y="1585882"/>
                <a:ext cx="245218" cy="36417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15BF04C0-7126-4213-A102-89F31C53D9E6}"/>
                  </a:ext>
                </a:extLst>
              </p:cNvPr>
              <p:cNvCxnSpPr>
                <a:cxnSpLocks/>
                <a:stCxn id="56" idx="4"/>
                <a:endCxn id="60" idx="0"/>
              </p:cNvCxnSpPr>
              <p:nvPr/>
            </p:nvCxnSpPr>
            <p:spPr>
              <a:xfrm flipH="1">
                <a:off x="1870008" y="1604090"/>
                <a:ext cx="42490" cy="17671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8F302582-15C3-4750-895F-614B23B35B79}"/>
                  </a:ext>
                </a:extLst>
              </p:cNvPr>
              <p:cNvCxnSpPr>
                <a:cxnSpLocks/>
                <a:stCxn id="60" idx="6"/>
                <a:endCxn id="59" idx="1"/>
              </p:cNvCxnSpPr>
              <p:nvPr/>
            </p:nvCxnSpPr>
            <p:spPr>
              <a:xfrm>
                <a:off x="1888216" y="1799012"/>
                <a:ext cx="146291" cy="112316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171D01BF-4B6E-4564-8734-625C6F46F3C6}"/>
                  </a:ext>
                </a:extLst>
              </p:cNvPr>
              <p:cNvCxnSpPr>
                <a:cxnSpLocks/>
                <a:stCxn id="59" idx="6"/>
                <a:endCxn id="58" idx="3"/>
              </p:cNvCxnSpPr>
              <p:nvPr/>
            </p:nvCxnSpPr>
            <p:spPr>
              <a:xfrm flipV="1">
                <a:off x="2065591" y="1822258"/>
                <a:ext cx="175603" cy="101946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A60EE1E0-FABF-4477-A75E-7F1DFCD7E786}"/>
                  </a:ext>
                </a:extLst>
              </p:cNvPr>
              <p:cNvCxnSpPr>
                <a:cxnSpLocks/>
                <a:stCxn id="58" idx="0"/>
                <a:endCxn id="57" idx="5"/>
              </p:cNvCxnSpPr>
              <p:nvPr/>
            </p:nvCxnSpPr>
            <p:spPr>
              <a:xfrm flipH="1" flipV="1">
                <a:off x="2207008" y="1635174"/>
                <a:ext cx="47062" cy="15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D5867FB7-50DD-44EE-A1DB-FD8C027BEA7B}"/>
                  </a:ext>
                </a:extLst>
              </p:cNvPr>
              <p:cNvCxnSpPr>
                <a:cxnSpLocks/>
                <a:stCxn id="61" idx="7"/>
                <a:endCxn id="57" idx="3"/>
              </p:cNvCxnSpPr>
              <p:nvPr/>
            </p:nvCxnSpPr>
            <p:spPr>
              <a:xfrm flipV="1">
                <a:off x="2060258" y="1635174"/>
                <a:ext cx="120999" cy="127921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7D510649-2E97-4C28-B2D6-8782D23EEDD9}"/>
                  </a:ext>
                </a:extLst>
              </p:cNvPr>
              <p:cNvCxnSpPr>
                <a:cxnSpLocks/>
                <a:stCxn id="56" idx="5"/>
                <a:endCxn id="61" idx="1"/>
              </p:cNvCxnSpPr>
              <p:nvPr/>
            </p:nvCxnSpPr>
            <p:spPr>
              <a:xfrm>
                <a:off x="1925373" y="1598757"/>
                <a:ext cx="109134" cy="16433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C9802913-3EC0-41C6-9CE1-181B169B6EFD}"/>
                  </a:ext>
                </a:extLst>
              </p:cNvPr>
              <p:cNvCxnSpPr>
                <a:cxnSpLocks/>
                <a:stCxn id="61" idx="2"/>
                <a:endCxn id="60" idx="6"/>
              </p:cNvCxnSpPr>
              <p:nvPr/>
            </p:nvCxnSpPr>
            <p:spPr>
              <a:xfrm flipH="1">
                <a:off x="1888216" y="1775971"/>
                <a:ext cx="140958" cy="23041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16CE7B54-1462-42BE-9FCC-3EF26A9196C4}"/>
                  </a:ext>
                </a:extLst>
              </p:cNvPr>
              <p:cNvCxnSpPr>
                <a:cxnSpLocks/>
                <a:stCxn id="61" idx="5"/>
                <a:endCxn id="59" idx="0"/>
              </p:cNvCxnSpPr>
              <p:nvPr/>
            </p:nvCxnSpPr>
            <p:spPr>
              <a:xfrm flipH="1">
                <a:off x="2047383" y="1788846"/>
                <a:ext cx="12875" cy="117149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5046434A-6E97-4EF7-BA22-72EB1D2873B2}"/>
                  </a:ext>
                </a:extLst>
              </p:cNvPr>
              <p:cNvCxnSpPr>
                <a:cxnSpLocks/>
                <a:stCxn id="61" idx="6"/>
                <a:endCxn id="58" idx="2"/>
              </p:cNvCxnSpPr>
              <p:nvPr/>
            </p:nvCxnSpPr>
            <p:spPr>
              <a:xfrm>
                <a:off x="2065591" y="1775971"/>
                <a:ext cx="170270" cy="3341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E9F73571-B57F-4A65-BF56-BD8B20330FDC}"/>
              </a:ext>
            </a:extLst>
          </p:cNvPr>
          <p:cNvGrpSpPr/>
          <p:nvPr/>
        </p:nvGrpSpPr>
        <p:grpSpPr>
          <a:xfrm>
            <a:off x="2403481" y="1241396"/>
            <a:ext cx="1033670" cy="754881"/>
            <a:chOff x="1858607" y="77692"/>
            <a:chExt cx="1232818" cy="900318"/>
          </a:xfrm>
        </p:grpSpPr>
        <p:sp>
          <p:nvSpPr>
            <p:cNvPr id="136" name="Rectangle: Rounded Corners 135">
              <a:extLst>
                <a:ext uri="{FF2B5EF4-FFF2-40B4-BE49-F238E27FC236}">
                  <a16:creationId xmlns:a16="http://schemas.microsoft.com/office/drawing/2014/main" id="{C9686CCE-4C6A-4DC2-9CC5-D80521523F91}"/>
                </a:ext>
              </a:extLst>
            </p:cNvPr>
            <p:cNvSpPr/>
            <p:nvPr/>
          </p:nvSpPr>
          <p:spPr>
            <a:xfrm>
              <a:off x="2043793" y="326005"/>
              <a:ext cx="866693" cy="652005"/>
            </a:xfrm>
            <a:prstGeom prst="roundRect">
              <a:avLst/>
            </a:prstGeom>
            <a:noFill/>
            <a:ln>
              <a:solidFill>
                <a:schemeClr val="tx1"/>
              </a:solidFill>
              <a:prstDash val="lg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EB9E633D-7982-4257-AA85-FBB03D4BB8FB}"/>
                </a:ext>
              </a:extLst>
            </p:cNvPr>
            <p:cNvSpPr txBox="1"/>
            <p:nvPr/>
          </p:nvSpPr>
          <p:spPr>
            <a:xfrm>
              <a:off x="1858607" y="77692"/>
              <a:ext cx="1232818" cy="29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pps</a:t>
              </a:r>
            </a:p>
          </p:txBody>
        </p:sp>
      </p:grpSp>
      <p:sp>
        <p:nvSpPr>
          <p:cNvPr id="158" name="TextBox 157">
            <a:extLst>
              <a:ext uri="{FF2B5EF4-FFF2-40B4-BE49-F238E27FC236}">
                <a16:creationId xmlns:a16="http://schemas.microsoft.com/office/drawing/2014/main" id="{53C95E18-0CF2-4F11-AA3B-83F0965DC346}"/>
              </a:ext>
            </a:extLst>
          </p:cNvPr>
          <p:cNvSpPr txBox="1"/>
          <p:nvPr/>
        </p:nvSpPr>
        <p:spPr>
          <a:xfrm>
            <a:off x="3164055" y="1240554"/>
            <a:ext cx="116146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tabase aziendali</a:t>
            </a:r>
          </a:p>
        </p:txBody>
      </p:sp>
      <p:sp>
        <p:nvSpPr>
          <p:cNvPr id="157" name="Rectangle: Rounded Corners 156">
            <a:extLst>
              <a:ext uri="{FF2B5EF4-FFF2-40B4-BE49-F238E27FC236}">
                <a16:creationId xmlns:a16="http://schemas.microsoft.com/office/drawing/2014/main" id="{B8FFA003-68E7-4BB7-8963-78F997AA8B73}"/>
              </a:ext>
            </a:extLst>
          </p:cNvPr>
          <p:cNvSpPr/>
          <p:nvPr/>
        </p:nvSpPr>
        <p:spPr>
          <a:xfrm>
            <a:off x="3435359" y="1446449"/>
            <a:ext cx="726688" cy="546681"/>
          </a:xfrm>
          <a:prstGeom prst="roundRect">
            <a:avLst/>
          </a:prstGeom>
          <a:noFill/>
          <a:ln>
            <a:solidFill>
              <a:schemeClr val="tx1"/>
            </a:solidFill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79A0BE71-F3AB-44FA-B96D-B8E7C2D7EA76}"/>
              </a:ext>
            </a:extLst>
          </p:cNvPr>
          <p:cNvGrpSpPr/>
          <p:nvPr/>
        </p:nvGrpSpPr>
        <p:grpSpPr>
          <a:xfrm>
            <a:off x="4156695" y="1241396"/>
            <a:ext cx="1033670" cy="754881"/>
            <a:chOff x="1858607" y="77692"/>
            <a:chExt cx="1232818" cy="900318"/>
          </a:xfrm>
        </p:grpSpPr>
        <p:sp>
          <p:nvSpPr>
            <p:cNvPr id="178" name="Rectangle: Rounded Corners 177">
              <a:extLst>
                <a:ext uri="{FF2B5EF4-FFF2-40B4-BE49-F238E27FC236}">
                  <a16:creationId xmlns:a16="http://schemas.microsoft.com/office/drawing/2014/main" id="{EB41A286-3843-406F-8CE2-0A136F5F5629}"/>
                </a:ext>
              </a:extLst>
            </p:cNvPr>
            <p:cNvSpPr/>
            <p:nvPr/>
          </p:nvSpPr>
          <p:spPr>
            <a:xfrm>
              <a:off x="2043793" y="326005"/>
              <a:ext cx="866693" cy="652005"/>
            </a:xfrm>
            <a:prstGeom prst="roundRect">
              <a:avLst/>
            </a:prstGeom>
            <a:noFill/>
            <a:ln>
              <a:solidFill>
                <a:schemeClr val="tx1"/>
              </a:solidFill>
              <a:prstDash val="lg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67CCBE0E-E942-48B2-A91D-3DB4602283B7}"/>
                </a:ext>
              </a:extLst>
            </p:cNvPr>
            <p:cNvSpPr txBox="1"/>
            <p:nvPr/>
          </p:nvSpPr>
          <p:spPr>
            <a:xfrm>
              <a:off x="1858607" y="77692"/>
              <a:ext cx="1232818" cy="29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ltro</a:t>
              </a:r>
            </a:p>
          </p:txBody>
        </p:sp>
      </p:grpSp>
      <p:pic>
        <p:nvPicPr>
          <p:cNvPr id="181" name="Graphic 180" descr="Smart Phone outline">
            <a:extLst>
              <a:ext uri="{FF2B5EF4-FFF2-40B4-BE49-F238E27FC236}">
                <a16:creationId xmlns:a16="http://schemas.microsoft.com/office/drawing/2014/main" id="{7E959811-667E-4AB5-978C-8050DC1E852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658641" y="1471338"/>
            <a:ext cx="511912" cy="511912"/>
          </a:xfrm>
          <a:prstGeom prst="rect">
            <a:avLst/>
          </a:prstGeom>
        </p:spPr>
      </p:pic>
      <p:pic>
        <p:nvPicPr>
          <p:cNvPr id="185" name="Graphic 184" descr="Marker with solid fill">
            <a:extLst>
              <a:ext uri="{FF2B5EF4-FFF2-40B4-BE49-F238E27FC236}">
                <a16:creationId xmlns:a16="http://schemas.microsoft.com/office/drawing/2014/main" id="{6B198CCD-F9F5-4437-8863-15D23E104B00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818468" y="1604151"/>
            <a:ext cx="108000" cy="108000"/>
          </a:xfrm>
          <a:prstGeom prst="rect">
            <a:avLst/>
          </a:prstGeom>
        </p:spPr>
      </p:pic>
      <p:pic>
        <p:nvPicPr>
          <p:cNvPr id="189" name="Graphic 188" descr="World with solid fill">
            <a:extLst>
              <a:ext uri="{FF2B5EF4-FFF2-40B4-BE49-F238E27FC236}">
                <a16:creationId xmlns:a16="http://schemas.microsoft.com/office/drawing/2014/main" id="{BC80324C-C5FF-4604-8978-AE57BF17175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913510" y="1613151"/>
            <a:ext cx="90000" cy="90000"/>
          </a:xfrm>
          <a:prstGeom prst="rect">
            <a:avLst/>
          </a:prstGeom>
        </p:spPr>
      </p:pic>
      <p:pic>
        <p:nvPicPr>
          <p:cNvPr id="190" name="Graphic 189" descr="Direction with solid fill">
            <a:extLst>
              <a:ext uri="{FF2B5EF4-FFF2-40B4-BE49-F238E27FC236}">
                <a16:creationId xmlns:a16="http://schemas.microsoft.com/office/drawing/2014/main" id="{E7BD17E0-EFE5-43F1-BC3C-A39909FAA57D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rcRect/>
          <a:stretch/>
        </p:blipFill>
        <p:spPr>
          <a:xfrm>
            <a:off x="2818468" y="1748995"/>
            <a:ext cx="108000" cy="108000"/>
          </a:xfrm>
          <a:prstGeom prst="rect">
            <a:avLst/>
          </a:prstGeom>
        </p:spPr>
      </p:pic>
      <p:pic>
        <p:nvPicPr>
          <p:cNvPr id="191" name="Graphic 190" descr="@ with solid fill">
            <a:extLst>
              <a:ext uri="{FF2B5EF4-FFF2-40B4-BE49-F238E27FC236}">
                <a16:creationId xmlns:a16="http://schemas.microsoft.com/office/drawing/2014/main" id="{2BEBE53C-E2E6-4639-9C91-1306ADE5920E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rcRect/>
          <a:stretch/>
        </p:blipFill>
        <p:spPr>
          <a:xfrm>
            <a:off x="2913510" y="1757995"/>
            <a:ext cx="90000" cy="90000"/>
          </a:xfrm>
          <a:prstGeom prst="rect">
            <a:avLst/>
          </a:prstGeom>
        </p:spPr>
      </p:pic>
      <p:pic>
        <p:nvPicPr>
          <p:cNvPr id="193" name="Graphic 192" descr="Database with solid fill">
            <a:extLst>
              <a:ext uri="{FF2B5EF4-FFF2-40B4-BE49-F238E27FC236}">
                <a16:creationId xmlns:a16="http://schemas.microsoft.com/office/drawing/2014/main" id="{AE3C8BE0-61F5-4A83-96E4-AF3008CBBA39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3528729" y="1449815"/>
            <a:ext cx="539949" cy="539949"/>
          </a:xfrm>
          <a:prstGeom prst="rect">
            <a:avLst/>
          </a:prstGeom>
        </p:spPr>
      </p:pic>
      <p:pic>
        <p:nvPicPr>
          <p:cNvPr id="195" name="Graphic 194" descr="Earth globe: Africa and Europe with solid fill">
            <a:extLst>
              <a:ext uri="{FF2B5EF4-FFF2-40B4-BE49-F238E27FC236}">
                <a16:creationId xmlns:a16="http://schemas.microsoft.com/office/drawing/2014/main" id="{2A8E8584-C178-4C13-9516-2C87E3931842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405335" y="1461692"/>
            <a:ext cx="516194" cy="516194"/>
          </a:xfrm>
          <a:prstGeom prst="rect">
            <a:avLst/>
          </a:prstGeom>
        </p:spPr>
      </p:pic>
      <p:sp>
        <p:nvSpPr>
          <p:cNvPr id="196" name="Left Brace 195">
            <a:extLst>
              <a:ext uri="{FF2B5EF4-FFF2-40B4-BE49-F238E27FC236}">
                <a16:creationId xmlns:a16="http://schemas.microsoft.com/office/drawing/2014/main" id="{6D12AAA6-9830-4D89-AA0C-F5E057EEED6B}"/>
              </a:ext>
            </a:extLst>
          </p:cNvPr>
          <p:cNvSpPr/>
          <p:nvPr/>
        </p:nvSpPr>
        <p:spPr>
          <a:xfrm rot="16200000">
            <a:off x="3267502" y="-419703"/>
            <a:ext cx="210492" cy="3167407"/>
          </a:xfrm>
          <a:prstGeom prst="leftBrace">
            <a:avLst>
              <a:gd name="adj1" fmla="val 151969"/>
              <a:gd name="adj2" fmla="val 44554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198" name="Straight Arrow Connector 197">
            <a:extLst>
              <a:ext uri="{FF2B5EF4-FFF2-40B4-BE49-F238E27FC236}">
                <a16:creationId xmlns:a16="http://schemas.microsoft.com/office/drawing/2014/main" id="{1919FC39-BE42-4A0E-ABB3-6C853E9B98F8}"/>
              </a:ext>
            </a:extLst>
          </p:cNvPr>
          <p:cNvCxnSpPr>
            <a:stCxn id="43" idx="2"/>
          </p:cNvCxnSpPr>
          <p:nvPr/>
        </p:nvCxnSpPr>
        <p:spPr>
          <a:xfrm flipH="1">
            <a:off x="2043709" y="1996277"/>
            <a:ext cx="1780" cy="253943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Arrow Connector 199">
            <a:extLst>
              <a:ext uri="{FF2B5EF4-FFF2-40B4-BE49-F238E27FC236}">
                <a16:creationId xmlns:a16="http://schemas.microsoft.com/office/drawing/2014/main" id="{4CB7AF62-919F-4609-800A-698B73085370}"/>
              </a:ext>
            </a:extLst>
          </p:cNvPr>
          <p:cNvCxnSpPr>
            <a:stCxn id="136" idx="2"/>
          </p:cNvCxnSpPr>
          <p:nvPr/>
        </p:nvCxnSpPr>
        <p:spPr>
          <a:xfrm>
            <a:off x="2922096" y="1996277"/>
            <a:ext cx="4372" cy="253943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Arrow Connector 202">
            <a:extLst>
              <a:ext uri="{FF2B5EF4-FFF2-40B4-BE49-F238E27FC236}">
                <a16:creationId xmlns:a16="http://schemas.microsoft.com/office/drawing/2014/main" id="{30F96B8B-152F-479D-97F8-46F55EBDA39A}"/>
              </a:ext>
            </a:extLst>
          </p:cNvPr>
          <p:cNvCxnSpPr/>
          <p:nvPr/>
        </p:nvCxnSpPr>
        <p:spPr>
          <a:xfrm>
            <a:off x="3787843" y="1996277"/>
            <a:ext cx="4372" cy="253943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Arrow Connector 203">
            <a:extLst>
              <a:ext uri="{FF2B5EF4-FFF2-40B4-BE49-F238E27FC236}">
                <a16:creationId xmlns:a16="http://schemas.microsoft.com/office/drawing/2014/main" id="{FC6B349F-70F0-4F8D-968E-ED9D8B95A436}"/>
              </a:ext>
            </a:extLst>
          </p:cNvPr>
          <p:cNvCxnSpPr/>
          <p:nvPr/>
        </p:nvCxnSpPr>
        <p:spPr>
          <a:xfrm>
            <a:off x="4685447" y="1996277"/>
            <a:ext cx="4372" cy="253943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Rectangle: Rounded Corners 204">
            <a:extLst>
              <a:ext uri="{FF2B5EF4-FFF2-40B4-BE49-F238E27FC236}">
                <a16:creationId xmlns:a16="http://schemas.microsoft.com/office/drawing/2014/main" id="{D3DEF146-7A0B-49E3-907F-B6AC356D9692}"/>
              </a:ext>
            </a:extLst>
          </p:cNvPr>
          <p:cNvSpPr/>
          <p:nvPr/>
        </p:nvSpPr>
        <p:spPr>
          <a:xfrm>
            <a:off x="2303594" y="2929975"/>
            <a:ext cx="2960200" cy="2352076"/>
          </a:xfrm>
          <a:prstGeom prst="roundRect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06" name="Rectangle: Rounded Corners 205">
            <a:extLst>
              <a:ext uri="{FF2B5EF4-FFF2-40B4-BE49-F238E27FC236}">
                <a16:creationId xmlns:a16="http://schemas.microsoft.com/office/drawing/2014/main" id="{687E66F5-7AC9-4B5E-8A24-3D6282B95E24}"/>
              </a:ext>
            </a:extLst>
          </p:cNvPr>
          <p:cNvSpPr/>
          <p:nvPr/>
        </p:nvSpPr>
        <p:spPr>
          <a:xfrm>
            <a:off x="2470199" y="3052916"/>
            <a:ext cx="2034506" cy="37608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800" b="1" dirty="0"/>
              <a:t>LEDGER</a:t>
            </a:r>
          </a:p>
          <a:p>
            <a:pPr algn="ctr"/>
            <a:r>
              <a:rPr lang="it-IT" sz="800" dirty="0"/>
              <a:t>SHARED SET OF AUTHORITATIVE RECORDS</a:t>
            </a:r>
          </a:p>
        </p:txBody>
      </p:sp>
      <p:sp>
        <p:nvSpPr>
          <p:cNvPr id="208" name="Rectangle: Rounded Corners 207">
            <a:extLst>
              <a:ext uri="{FF2B5EF4-FFF2-40B4-BE49-F238E27FC236}">
                <a16:creationId xmlns:a16="http://schemas.microsoft.com/office/drawing/2014/main" id="{2EA11011-9357-4EB7-AF43-B03FF14C9AFB}"/>
              </a:ext>
            </a:extLst>
          </p:cNvPr>
          <p:cNvSpPr/>
          <p:nvPr/>
        </p:nvSpPr>
        <p:spPr>
          <a:xfrm>
            <a:off x="2491252" y="3618564"/>
            <a:ext cx="2034506" cy="37608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800" b="1" dirty="0"/>
              <a:t>DATA LAYER</a:t>
            </a:r>
          </a:p>
        </p:txBody>
      </p:sp>
      <p:sp>
        <p:nvSpPr>
          <p:cNvPr id="209" name="Rectangle: Rounded Corners 208">
            <a:extLst>
              <a:ext uri="{FF2B5EF4-FFF2-40B4-BE49-F238E27FC236}">
                <a16:creationId xmlns:a16="http://schemas.microsoft.com/office/drawing/2014/main" id="{1997C172-10C2-4404-ACCE-4CF077EC18DC}"/>
              </a:ext>
            </a:extLst>
          </p:cNvPr>
          <p:cNvSpPr/>
          <p:nvPr/>
        </p:nvSpPr>
        <p:spPr>
          <a:xfrm>
            <a:off x="2503865" y="4184212"/>
            <a:ext cx="2034506" cy="37608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800" b="1" dirty="0"/>
              <a:t>NETWORK LAYER</a:t>
            </a:r>
            <a:endParaRPr lang="it-IT" sz="800" dirty="0"/>
          </a:p>
        </p:txBody>
      </p:sp>
      <p:sp>
        <p:nvSpPr>
          <p:cNvPr id="210" name="Rectangle: Rounded Corners 209">
            <a:extLst>
              <a:ext uri="{FF2B5EF4-FFF2-40B4-BE49-F238E27FC236}">
                <a16:creationId xmlns:a16="http://schemas.microsoft.com/office/drawing/2014/main" id="{37F1C550-E103-4EB1-A2E7-B68E6D13C8E4}"/>
              </a:ext>
            </a:extLst>
          </p:cNvPr>
          <p:cNvSpPr/>
          <p:nvPr/>
        </p:nvSpPr>
        <p:spPr>
          <a:xfrm>
            <a:off x="2516294" y="4749860"/>
            <a:ext cx="2034506" cy="37608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800" b="1" dirty="0"/>
              <a:t>PROTOCOL LAYER</a:t>
            </a:r>
            <a:endParaRPr lang="it-IT" sz="800" dirty="0"/>
          </a:p>
        </p:txBody>
      </p:sp>
      <p:pic>
        <p:nvPicPr>
          <p:cNvPr id="212" name="Graphic 211" descr="Meeting outline">
            <a:extLst>
              <a:ext uri="{FF2B5EF4-FFF2-40B4-BE49-F238E27FC236}">
                <a16:creationId xmlns:a16="http://schemas.microsoft.com/office/drawing/2014/main" id="{67AE944E-EAC9-42FB-8BAA-DFB4E7BF0431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4748955" y="4749860"/>
            <a:ext cx="376084" cy="376084"/>
          </a:xfrm>
          <a:prstGeom prst="rect">
            <a:avLst/>
          </a:prstGeom>
        </p:spPr>
      </p:pic>
      <p:pic>
        <p:nvPicPr>
          <p:cNvPr id="213" name="Graphic 212" descr="Network outline">
            <a:extLst>
              <a:ext uri="{FF2B5EF4-FFF2-40B4-BE49-F238E27FC236}">
                <a16:creationId xmlns:a16="http://schemas.microsoft.com/office/drawing/2014/main" id="{59536932-5653-440A-AB08-A8CD8015E4FD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rcRect/>
          <a:stretch/>
        </p:blipFill>
        <p:spPr>
          <a:xfrm>
            <a:off x="4748955" y="4184212"/>
            <a:ext cx="376084" cy="376084"/>
          </a:xfrm>
          <a:prstGeom prst="rect">
            <a:avLst/>
          </a:prstGeom>
        </p:spPr>
      </p:pic>
      <p:pic>
        <p:nvPicPr>
          <p:cNvPr id="214" name="Graphic 213" descr="Server outline">
            <a:extLst>
              <a:ext uri="{FF2B5EF4-FFF2-40B4-BE49-F238E27FC236}">
                <a16:creationId xmlns:a16="http://schemas.microsoft.com/office/drawing/2014/main" id="{56613634-BC60-4743-821E-83CB7C201BDB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rcRect/>
          <a:stretch/>
        </p:blipFill>
        <p:spPr>
          <a:xfrm>
            <a:off x="4748955" y="3618564"/>
            <a:ext cx="376084" cy="376084"/>
          </a:xfrm>
          <a:prstGeom prst="rect">
            <a:avLst/>
          </a:prstGeom>
        </p:spPr>
      </p:pic>
      <p:pic>
        <p:nvPicPr>
          <p:cNvPr id="215" name="Graphic 214" descr="Blockchain outline">
            <a:extLst>
              <a:ext uri="{FF2B5EF4-FFF2-40B4-BE49-F238E27FC236}">
                <a16:creationId xmlns:a16="http://schemas.microsoft.com/office/drawing/2014/main" id="{B08D1725-B846-4385-AB41-F2B670660100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rcRect/>
          <a:stretch/>
        </p:blipFill>
        <p:spPr>
          <a:xfrm>
            <a:off x="4748955" y="3051394"/>
            <a:ext cx="376084" cy="376084"/>
          </a:xfrm>
          <a:prstGeom prst="rect">
            <a:avLst/>
          </a:prstGeom>
        </p:spPr>
      </p:pic>
      <p:sp>
        <p:nvSpPr>
          <p:cNvPr id="219" name="Arrow: Curved Right 218">
            <a:extLst>
              <a:ext uri="{FF2B5EF4-FFF2-40B4-BE49-F238E27FC236}">
                <a16:creationId xmlns:a16="http://schemas.microsoft.com/office/drawing/2014/main" id="{3617C0FE-ECEC-44D7-8BAC-2687B44929CC}"/>
              </a:ext>
            </a:extLst>
          </p:cNvPr>
          <p:cNvSpPr/>
          <p:nvPr/>
        </p:nvSpPr>
        <p:spPr>
          <a:xfrm>
            <a:off x="1510493" y="3141406"/>
            <a:ext cx="730954" cy="1865671"/>
          </a:xfrm>
          <a:prstGeom prst="curvedRightArrow">
            <a:avLst>
              <a:gd name="adj1" fmla="val 25000"/>
              <a:gd name="adj2" fmla="val 53051"/>
              <a:gd name="adj3" fmla="val 25000"/>
            </a:avLst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571452A4-0B56-4A9B-991D-FC0C04937822}"/>
              </a:ext>
            </a:extLst>
          </p:cNvPr>
          <p:cNvSpPr txBox="1"/>
          <p:nvPr/>
        </p:nvSpPr>
        <p:spPr>
          <a:xfrm>
            <a:off x="1405346" y="3637171"/>
            <a:ext cx="10336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ferenze Endogene</a:t>
            </a:r>
          </a:p>
        </p:txBody>
      </p:sp>
      <p:pic>
        <p:nvPicPr>
          <p:cNvPr id="222" name="Graphic 221" descr="Bitcoin outline">
            <a:extLst>
              <a:ext uri="{FF2B5EF4-FFF2-40B4-BE49-F238E27FC236}">
                <a16:creationId xmlns:a16="http://schemas.microsoft.com/office/drawing/2014/main" id="{5F300D6A-A19A-4627-9E5D-D7B1EBF62519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625808" y="3967814"/>
            <a:ext cx="400110" cy="400110"/>
          </a:xfrm>
          <a:prstGeom prst="rect">
            <a:avLst/>
          </a:prstGeom>
        </p:spPr>
      </p:pic>
      <p:pic>
        <p:nvPicPr>
          <p:cNvPr id="224" name="Graphic 223" descr="Coins outline">
            <a:extLst>
              <a:ext uri="{FF2B5EF4-FFF2-40B4-BE49-F238E27FC236}">
                <a16:creationId xmlns:a16="http://schemas.microsoft.com/office/drawing/2014/main" id="{B4C59644-3F69-4C7B-911B-D8DD1AC867AA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1928397" y="4106013"/>
            <a:ext cx="347640" cy="347640"/>
          </a:xfrm>
          <a:prstGeom prst="rect">
            <a:avLst/>
          </a:prstGeom>
        </p:spPr>
      </p:pic>
      <p:sp>
        <p:nvSpPr>
          <p:cNvPr id="225" name="Rectangle: Rounded Corners 224">
            <a:extLst>
              <a:ext uri="{FF2B5EF4-FFF2-40B4-BE49-F238E27FC236}">
                <a16:creationId xmlns:a16="http://schemas.microsoft.com/office/drawing/2014/main" id="{20C6275D-0233-493C-AFDE-AC99D8F6DF3B}"/>
              </a:ext>
            </a:extLst>
          </p:cNvPr>
          <p:cNvSpPr/>
          <p:nvPr/>
        </p:nvSpPr>
        <p:spPr>
          <a:xfrm>
            <a:off x="531372" y="3875458"/>
            <a:ext cx="866693" cy="397565"/>
          </a:xfrm>
          <a:prstGeom prst="roundRect">
            <a:avLst>
              <a:gd name="adj" fmla="val 24667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istema DLT</a:t>
            </a:r>
          </a:p>
        </p:txBody>
      </p:sp>
    </p:spTree>
    <p:extLst>
      <p:ext uri="{BB962C8B-B14F-4D97-AF65-F5344CB8AC3E}">
        <p14:creationId xmlns:p14="http://schemas.microsoft.com/office/powerpoint/2010/main" val="588555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>
            <a:extLst>
              <a:ext uri="{FF2B5EF4-FFF2-40B4-BE49-F238E27FC236}">
                <a16:creationId xmlns:a16="http://schemas.microsoft.com/office/drawing/2014/main" id="{57165846-9901-48C6-A6FB-94BC5EBD1192}"/>
              </a:ext>
            </a:extLst>
          </p:cNvPr>
          <p:cNvGrpSpPr/>
          <p:nvPr/>
        </p:nvGrpSpPr>
        <p:grpSpPr>
          <a:xfrm>
            <a:off x="545253" y="557456"/>
            <a:ext cx="6388946" cy="3279633"/>
            <a:chOff x="545253" y="557456"/>
            <a:chExt cx="6388946" cy="3279633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48CEB3BB-FBCD-4392-9F7B-05713EF66057}"/>
                </a:ext>
              </a:extLst>
            </p:cNvPr>
            <p:cNvGrpSpPr/>
            <p:nvPr/>
          </p:nvGrpSpPr>
          <p:grpSpPr>
            <a:xfrm>
              <a:off x="714375" y="847725"/>
              <a:ext cx="6219824" cy="457200"/>
              <a:chOff x="714375" y="847725"/>
              <a:chExt cx="6219824" cy="457200"/>
            </a:xfrm>
          </p:grpSpPr>
          <p:sp>
            <p:nvSpPr>
              <p:cNvPr id="2" name="Arrow: Left-Right 1">
                <a:extLst>
                  <a:ext uri="{FF2B5EF4-FFF2-40B4-BE49-F238E27FC236}">
                    <a16:creationId xmlns:a16="http://schemas.microsoft.com/office/drawing/2014/main" id="{2496CE38-4542-414D-89EF-38B1A4FF3ABD}"/>
                  </a:ext>
                </a:extLst>
              </p:cNvPr>
              <p:cNvSpPr/>
              <p:nvPr/>
            </p:nvSpPr>
            <p:spPr>
              <a:xfrm>
                <a:off x="714375" y="847725"/>
                <a:ext cx="2495550" cy="457200"/>
              </a:xfrm>
              <a:prstGeom prst="leftRightArrow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3" name="Arrow: Left-Right 2">
                <a:extLst>
                  <a:ext uri="{FF2B5EF4-FFF2-40B4-BE49-F238E27FC236}">
                    <a16:creationId xmlns:a16="http://schemas.microsoft.com/office/drawing/2014/main" id="{F4E12A71-4EA1-4FD8-861F-069593170159}"/>
                  </a:ext>
                </a:extLst>
              </p:cNvPr>
              <p:cNvSpPr/>
              <p:nvPr/>
            </p:nvSpPr>
            <p:spPr>
              <a:xfrm>
                <a:off x="3495675" y="847725"/>
                <a:ext cx="3438524" cy="457200"/>
              </a:xfrm>
              <a:prstGeom prst="leftRightArrow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2BD4391-FDC5-4E9F-8826-C01396418939}"/>
                </a:ext>
              </a:extLst>
            </p:cNvPr>
            <p:cNvGrpSpPr/>
            <p:nvPr/>
          </p:nvGrpSpPr>
          <p:grpSpPr>
            <a:xfrm>
              <a:off x="545253" y="1543128"/>
              <a:ext cx="1646963" cy="1219122"/>
              <a:chOff x="545253" y="1543128"/>
              <a:chExt cx="1646963" cy="1219122"/>
            </a:xfrm>
          </p:grpSpPr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B66E6C1B-74EE-4123-8DD5-5B979F42CAF2}"/>
                  </a:ext>
                </a:extLst>
              </p:cNvPr>
              <p:cNvGrpSpPr/>
              <p:nvPr/>
            </p:nvGrpSpPr>
            <p:grpSpPr>
              <a:xfrm>
                <a:off x="838405" y="1743792"/>
                <a:ext cx="1353811" cy="1018458"/>
                <a:chOff x="1892410" y="326005"/>
                <a:chExt cx="866693" cy="652005"/>
              </a:xfrm>
            </p:grpSpPr>
            <p:sp>
              <p:nvSpPr>
                <p:cNvPr id="8" name="Rectangle: Rounded Corners 7">
                  <a:extLst>
                    <a:ext uri="{FF2B5EF4-FFF2-40B4-BE49-F238E27FC236}">
                      <a16:creationId xmlns:a16="http://schemas.microsoft.com/office/drawing/2014/main" id="{51028DE0-57C9-46B7-9CCB-0ED39E8A32FE}"/>
                    </a:ext>
                  </a:extLst>
                </p:cNvPr>
                <p:cNvSpPr/>
                <p:nvPr/>
              </p:nvSpPr>
              <p:spPr>
                <a:xfrm>
                  <a:off x="1892410" y="326005"/>
                  <a:ext cx="866693" cy="652005"/>
                </a:xfrm>
                <a:prstGeom prst="roundRect">
                  <a:avLst/>
                </a:prstGeom>
                <a:noFill/>
                <a:ln>
                  <a:solidFill>
                    <a:schemeClr val="tx1"/>
                  </a:solidFill>
                  <a:prstDash val="sys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pic>
              <p:nvPicPr>
                <p:cNvPr id="9" name="Graphic 8" descr="Gold bars outline">
                  <a:extLst>
                    <a:ext uri="{FF2B5EF4-FFF2-40B4-BE49-F238E27FC236}">
                      <a16:creationId xmlns:a16="http://schemas.microsoft.com/office/drawing/2014/main" id="{78908456-B11F-484E-9FDB-A19E6254825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006708" y="424655"/>
                  <a:ext cx="276569" cy="276561"/>
                </a:xfrm>
                <a:prstGeom prst="rect">
                  <a:avLst/>
                </a:prstGeom>
              </p:spPr>
            </p:pic>
            <p:pic>
              <p:nvPicPr>
                <p:cNvPr id="10" name="Graphic 9" descr="Diamond outline">
                  <a:extLst>
                    <a:ext uri="{FF2B5EF4-FFF2-40B4-BE49-F238E27FC236}">
                      <a16:creationId xmlns:a16="http://schemas.microsoft.com/office/drawing/2014/main" id="{BD1BB05C-C772-433D-BD44-5CB149C394D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18298" y="454708"/>
                  <a:ext cx="276569" cy="276561"/>
                </a:xfrm>
                <a:prstGeom prst="rect">
                  <a:avLst/>
                </a:prstGeom>
              </p:spPr>
            </p:pic>
            <p:pic>
              <p:nvPicPr>
                <p:cNvPr id="11" name="Graphic 10" descr="Home outline">
                  <a:extLst>
                    <a:ext uri="{FF2B5EF4-FFF2-40B4-BE49-F238E27FC236}">
                      <a16:creationId xmlns:a16="http://schemas.microsoft.com/office/drawing/2014/main" id="{C5CF458E-0276-4E63-82B7-7068546550E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006708" y="628432"/>
                  <a:ext cx="276569" cy="276561"/>
                </a:xfrm>
                <a:prstGeom prst="rect">
                  <a:avLst/>
                </a:prstGeom>
              </p:spPr>
            </p:pic>
            <p:pic>
              <p:nvPicPr>
                <p:cNvPr id="12" name="Graphic 11" descr="Car outline">
                  <a:extLst>
                    <a:ext uri="{FF2B5EF4-FFF2-40B4-BE49-F238E27FC236}">
                      <a16:creationId xmlns:a16="http://schemas.microsoft.com/office/drawing/2014/main" id="{B720A653-6AEA-49D6-9A21-84CF2D03AAC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18298" y="666431"/>
                  <a:ext cx="276569" cy="276561"/>
                </a:xfrm>
                <a:prstGeom prst="rect">
                  <a:avLst/>
                </a:prstGeom>
              </p:spPr>
            </p:pic>
          </p:grpSp>
          <p:sp>
            <p:nvSpPr>
              <p:cNvPr id="6" name="Rectangle: Rounded Corners 5">
                <a:extLst>
                  <a:ext uri="{FF2B5EF4-FFF2-40B4-BE49-F238E27FC236}">
                    <a16:creationId xmlns:a16="http://schemas.microsoft.com/office/drawing/2014/main" id="{1E37AE78-893F-4231-8498-614EB5126E7E}"/>
                  </a:ext>
                </a:extLst>
              </p:cNvPr>
              <p:cNvSpPr/>
              <p:nvPr/>
            </p:nvSpPr>
            <p:spPr>
              <a:xfrm>
                <a:off x="545253" y="1543128"/>
                <a:ext cx="904875" cy="352425"/>
              </a:xfrm>
              <a:prstGeom prst="roundRect">
                <a:avLst>
                  <a:gd name="adj" fmla="val 24667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sz="1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sset Reali</a:t>
                </a:r>
              </a:p>
            </p:txBody>
          </p:sp>
        </p:grp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C71E3BC8-A0F9-4426-82B3-6921EA56F1DC}"/>
                </a:ext>
              </a:extLst>
            </p:cNvPr>
            <p:cNvCxnSpPr>
              <a:stCxn id="8" idx="3"/>
            </p:cNvCxnSpPr>
            <p:nvPr/>
          </p:nvCxnSpPr>
          <p:spPr>
            <a:xfrm>
              <a:off x="2192216" y="2253022"/>
              <a:ext cx="1017709" cy="6737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" name="Graphic 16" descr="Blockchain outline">
              <a:extLst>
                <a:ext uri="{FF2B5EF4-FFF2-40B4-BE49-F238E27FC236}">
                  <a16:creationId xmlns:a16="http://schemas.microsoft.com/office/drawing/2014/main" id="{75C70BDD-3E5D-4FFD-A512-09D7CE74E04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038475" y="1885207"/>
              <a:ext cx="914400" cy="914400"/>
            </a:xfrm>
            <a:prstGeom prst="rect">
              <a:avLst/>
            </a:prstGeom>
          </p:spPr>
        </p:pic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70C617A7-3F02-4395-BD07-F956CD1B6CB2}"/>
                </a:ext>
              </a:extLst>
            </p:cNvPr>
            <p:cNvSpPr/>
            <p:nvPr/>
          </p:nvSpPr>
          <p:spPr>
            <a:xfrm>
              <a:off x="3025530" y="1543128"/>
              <a:ext cx="904875" cy="352425"/>
            </a:xfrm>
            <a:prstGeom prst="roundRect">
              <a:avLst>
                <a:gd name="adj" fmla="val 24667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lockchain</a:t>
              </a:r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A7760BC9-F5A9-491D-BB64-F4485E3C8F66}"/>
                </a:ext>
              </a:extLst>
            </p:cNvPr>
            <p:cNvSpPr/>
            <p:nvPr/>
          </p:nvSpPr>
          <p:spPr>
            <a:xfrm>
              <a:off x="5092286" y="1800552"/>
              <a:ext cx="1353811" cy="1018459"/>
            </a:xfrm>
            <a:prstGeom prst="roundRect">
              <a:avLst/>
            </a:prstGeom>
            <a:noFill/>
            <a:ln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07A259D2-4728-4C1A-82F5-7F234F6D1D79}"/>
                </a:ext>
              </a:extLst>
            </p:cNvPr>
            <p:cNvSpPr/>
            <p:nvPr/>
          </p:nvSpPr>
          <p:spPr>
            <a:xfrm>
              <a:off x="4799134" y="1304926"/>
              <a:ext cx="1438613" cy="647388"/>
            </a:xfrm>
            <a:prstGeom prst="roundRect">
              <a:avLst>
                <a:gd name="adj" fmla="val 24667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ken rappresentanti del valore economico e della proprietà degli asset</a:t>
              </a:r>
            </a:p>
          </p:txBody>
        </p: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BE6E600E-4BA2-44C8-960F-8F1F74C2146C}"/>
                </a:ext>
              </a:extLst>
            </p:cNvPr>
            <p:cNvCxnSpPr>
              <a:cxnSpLocks/>
            </p:cNvCxnSpPr>
            <p:nvPr/>
          </p:nvCxnSpPr>
          <p:spPr>
            <a:xfrm>
              <a:off x="3800475" y="2278919"/>
              <a:ext cx="1305111" cy="0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79347C31-1FF7-4ABB-A707-7FF757411508}"/>
                </a:ext>
              </a:extLst>
            </p:cNvPr>
            <p:cNvSpPr/>
            <p:nvPr/>
          </p:nvSpPr>
          <p:spPr>
            <a:xfrm>
              <a:off x="5208717" y="1952780"/>
              <a:ext cx="904875" cy="352425"/>
            </a:xfrm>
            <a:prstGeom prst="roundRect">
              <a:avLst>
                <a:gd name="adj" fmla="val 24667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ken</a:t>
              </a: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06037545-D812-42DB-8FB1-B474890A4F48}"/>
                </a:ext>
              </a:extLst>
            </p:cNvPr>
            <p:cNvSpPr/>
            <p:nvPr/>
          </p:nvSpPr>
          <p:spPr>
            <a:xfrm>
              <a:off x="5541222" y="2153673"/>
              <a:ext cx="904875" cy="352425"/>
            </a:xfrm>
            <a:prstGeom prst="roundRect">
              <a:avLst>
                <a:gd name="adj" fmla="val 24667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ken</a:t>
              </a:r>
            </a:p>
          </p:txBody>
        </p: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D8C949D1-C04D-42A9-8CA6-B1D495480655}"/>
                </a:ext>
              </a:extLst>
            </p:cNvPr>
            <p:cNvSpPr/>
            <p:nvPr/>
          </p:nvSpPr>
          <p:spPr>
            <a:xfrm>
              <a:off x="5092286" y="2295769"/>
              <a:ext cx="904875" cy="352425"/>
            </a:xfrm>
            <a:prstGeom prst="roundRect">
              <a:avLst>
                <a:gd name="adj" fmla="val 24667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ken</a:t>
              </a:r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C25ED49C-F890-4FF6-BF36-F41A7C0085B2}"/>
                </a:ext>
              </a:extLst>
            </p:cNvPr>
            <p:cNvSpPr/>
            <p:nvPr/>
          </p:nvSpPr>
          <p:spPr>
            <a:xfrm>
              <a:off x="5332872" y="2471981"/>
              <a:ext cx="904875" cy="352425"/>
            </a:xfrm>
            <a:prstGeom prst="roundRect">
              <a:avLst>
                <a:gd name="adj" fmla="val 24667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ken</a:t>
              </a:r>
            </a:p>
          </p:txBody>
        </p: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7E1ACAB3-3DF0-4DCC-B048-DE7EF86125D2}"/>
                </a:ext>
              </a:extLst>
            </p:cNvPr>
            <p:cNvSpPr/>
            <p:nvPr/>
          </p:nvSpPr>
          <p:spPr>
            <a:xfrm>
              <a:off x="5643562" y="2326472"/>
              <a:ext cx="904875" cy="352425"/>
            </a:xfrm>
            <a:prstGeom prst="roundRect">
              <a:avLst>
                <a:gd name="adj" fmla="val 24667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ken</a:t>
              </a:r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240BC8F7-268F-4C8B-AA1E-8DF61D8E77FA}"/>
                </a:ext>
              </a:extLst>
            </p:cNvPr>
            <p:cNvSpPr/>
            <p:nvPr/>
          </p:nvSpPr>
          <p:spPr>
            <a:xfrm>
              <a:off x="5723232" y="1944471"/>
              <a:ext cx="904875" cy="352425"/>
            </a:xfrm>
            <a:prstGeom prst="roundRect">
              <a:avLst>
                <a:gd name="adj" fmla="val 24667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ken</a:t>
              </a: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891340FB-DB4E-459B-9E7C-6ADE1AF5FCB0}"/>
                </a:ext>
              </a:extLst>
            </p:cNvPr>
            <p:cNvSpPr/>
            <p:nvPr/>
          </p:nvSpPr>
          <p:spPr>
            <a:xfrm>
              <a:off x="4875652" y="2086567"/>
              <a:ext cx="904875" cy="352425"/>
            </a:xfrm>
            <a:prstGeom prst="roundRect">
              <a:avLst>
                <a:gd name="adj" fmla="val 24667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ken</a:t>
              </a:r>
            </a:p>
          </p:txBody>
        </p:sp>
        <p:pic>
          <p:nvPicPr>
            <p:cNvPr id="41" name="Graphic 40" descr="Safe with solid fill">
              <a:extLst>
                <a:ext uri="{FF2B5EF4-FFF2-40B4-BE49-F238E27FC236}">
                  <a16:creationId xmlns:a16="http://schemas.microsoft.com/office/drawing/2014/main" id="{D8039259-90B9-4FFD-BB5E-54D91E33FE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038475" y="2922689"/>
              <a:ext cx="914400" cy="914400"/>
            </a:xfrm>
            <a:prstGeom prst="rect">
              <a:avLst/>
            </a:prstGeom>
          </p:spPr>
        </p:pic>
        <p:cxnSp>
          <p:nvCxnSpPr>
            <p:cNvPr id="43" name="Connector: Curved 42">
              <a:extLst>
                <a:ext uri="{FF2B5EF4-FFF2-40B4-BE49-F238E27FC236}">
                  <a16:creationId xmlns:a16="http://schemas.microsoft.com/office/drawing/2014/main" id="{DD84912A-5072-4805-91E6-5708867C53D2}"/>
                </a:ext>
              </a:extLst>
            </p:cNvPr>
            <p:cNvCxnSpPr>
              <a:cxnSpLocks/>
              <a:stCxn id="8" idx="2"/>
              <a:endCxn id="41" idx="1"/>
            </p:cNvCxnSpPr>
            <p:nvPr/>
          </p:nvCxnSpPr>
          <p:spPr>
            <a:xfrm rot="16200000" flipH="1">
              <a:off x="1968074" y="2309487"/>
              <a:ext cx="617639" cy="1523164"/>
            </a:xfrm>
            <a:prstGeom prst="curved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E5F88262-7DFE-4CDC-AA47-21AAB273ABDD}"/>
                </a:ext>
              </a:extLst>
            </p:cNvPr>
            <p:cNvSpPr/>
            <p:nvPr/>
          </p:nvSpPr>
          <p:spPr>
            <a:xfrm>
              <a:off x="3009168" y="2746476"/>
              <a:ext cx="904875" cy="352425"/>
            </a:xfrm>
            <a:prstGeom prst="roundRect">
              <a:avLst>
                <a:gd name="adj" fmla="val 24667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000" dirty="0" err="1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Vault</a:t>
              </a:r>
              <a:endParaRPr lang="it-IT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9F526EAC-0ED6-443F-8668-339CA545D590}"/>
                </a:ext>
              </a:extLst>
            </p:cNvPr>
            <p:cNvSpPr/>
            <p:nvPr/>
          </p:nvSpPr>
          <p:spPr>
            <a:xfrm>
              <a:off x="1343443" y="557456"/>
              <a:ext cx="1237832" cy="352425"/>
            </a:xfrm>
            <a:prstGeom prst="roundRect">
              <a:avLst>
                <a:gd name="adj" fmla="val 24667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ondo Off-Chain</a:t>
              </a:r>
            </a:p>
          </p:txBody>
        </p:sp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6521E0C8-EF25-4205-9710-37E891772CAB}"/>
                </a:ext>
              </a:extLst>
            </p:cNvPr>
            <p:cNvSpPr/>
            <p:nvPr/>
          </p:nvSpPr>
          <p:spPr>
            <a:xfrm>
              <a:off x="4875760" y="575337"/>
              <a:ext cx="1237832" cy="352425"/>
            </a:xfrm>
            <a:prstGeom prst="roundRect">
              <a:avLst>
                <a:gd name="adj" fmla="val 24667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ondo On-Chai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054222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5B250C2D-A280-400E-A89B-262E99440673}"/>
              </a:ext>
            </a:extLst>
          </p:cNvPr>
          <p:cNvGrpSpPr/>
          <p:nvPr/>
        </p:nvGrpSpPr>
        <p:grpSpPr>
          <a:xfrm>
            <a:off x="770021" y="309234"/>
            <a:ext cx="5137883" cy="2473723"/>
            <a:chOff x="770021" y="399072"/>
            <a:chExt cx="7034464" cy="3386865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ACFCDD50-F0CD-4523-ADFF-B60396D05C7F}"/>
                </a:ext>
              </a:extLst>
            </p:cNvPr>
            <p:cNvSpPr/>
            <p:nvPr/>
          </p:nvSpPr>
          <p:spPr>
            <a:xfrm>
              <a:off x="770021" y="794084"/>
              <a:ext cx="1331495" cy="1074821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sset Off-Chain</a:t>
              </a:r>
            </a:p>
          </p:txBody>
        </p:sp>
        <p:pic>
          <p:nvPicPr>
            <p:cNvPr id="3" name="Graphic 2" descr="Blockchain outline">
              <a:extLst>
                <a:ext uri="{FF2B5EF4-FFF2-40B4-BE49-F238E27FC236}">
                  <a16:creationId xmlns:a16="http://schemas.microsoft.com/office/drawing/2014/main" id="{8666099A-ACC3-4DCB-A800-B7B61AA5ABD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477127" y="521368"/>
              <a:ext cx="1620252" cy="1620252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8002855-C854-4D2F-89EC-A4ECBF667D7B}"/>
                </a:ext>
              </a:extLst>
            </p:cNvPr>
            <p:cNvSpPr/>
            <p:nvPr/>
          </p:nvSpPr>
          <p:spPr>
            <a:xfrm>
              <a:off x="6472990" y="794083"/>
              <a:ext cx="1331495" cy="1074821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nvestitori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8268228-FF45-4D3F-917C-AAACDCF7D25A}"/>
                </a:ext>
              </a:extLst>
            </p:cNvPr>
            <p:cNvSpPr/>
            <p:nvPr/>
          </p:nvSpPr>
          <p:spPr>
            <a:xfrm>
              <a:off x="2101516" y="2711116"/>
              <a:ext cx="1331495" cy="1074821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ustode</a:t>
              </a:r>
            </a:p>
          </p:txBody>
        </p:sp>
        <p:cxnSp>
          <p:nvCxnSpPr>
            <p:cNvPr id="7" name="Connector: Elbow 6">
              <a:extLst>
                <a:ext uri="{FF2B5EF4-FFF2-40B4-BE49-F238E27FC236}">
                  <a16:creationId xmlns:a16="http://schemas.microsoft.com/office/drawing/2014/main" id="{563BB597-DB39-4109-818E-058AEA5EA13F}"/>
                </a:ext>
              </a:extLst>
            </p:cNvPr>
            <p:cNvCxnSpPr>
              <a:stCxn id="2" idx="2"/>
              <a:endCxn id="5" idx="1"/>
            </p:cNvCxnSpPr>
            <p:nvPr/>
          </p:nvCxnSpPr>
          <p:spPr>
            <a:xfrm rot="16200000" flipH="1">
              <a:off x="1078831" y="2225842"/>
              <a:ext cx="1379622" cy="665747"/>
            </a:xfrm>
            <a:prstGeom prst="bentConnector2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Connector: Elbow 10">
              <a:extLst>
                <a:ext uri="{FF2B5EF4-FFF2-40B4-BE49-F238E27FC236}">
                  <a16:creationId xmlns:a16="http://schemas.microsoft.com/office/drawing/2014/main" id="{FDE3C553-F737-4036-B78A-3D7E8C402B8B}"/>
                </a:ext>
              </a:extLst>
            </p:cNvPr>
            <p:cNvCxnSpPr>
              <a:stCxn id="5" idx="2"/>
              <a:endCxn id="4" idx="2"/>
            </p:cNvCxnSpPr>
            <p:nvPr/>
          </p:nvCxnSpPr>
          <p:spPr>
            <a:xfrm rot="5400000" flipH="1" flipV="1">
              <a:off x="3994484" y="641684"/>
              <a:ext cx="1917033" cy="4371474"/>
            </a:xfrm>
            <a:prstGeom prst="bentConnector3">
              <a:avLst>
                <a:gd name="adj1" fmla="val -11925"/>
              </a:avLst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9848C51F-990A-4DBC-9312-AB554161F0D2}"/>
                </a:ext>
              </a:extLst>
            </p:cNvPr>
            <p:cNvCxnSpPr>
              <a:stCxn id="2" idx="3"/>
              <a:endCxn id="3" idx="1"/>
            </p:cNvCxnSpPr>
            <p:nvPr/>
          </p:nvCxnSpPr>
          <p:spPr>
            <a:xfrm flipV="1">
              <a:off x="2101516" y="1331494"/>
              <a:ext cx="1375611" cy="1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7AF307F-50FE-4FBF-AF11-D0E750E0651E}"/>
                </a:ext>
              </a:extLst>
            </p:cNvPr>
            <p:cNvCxnSpPr>
              <a:cxnSpLocks/>
              <a:stCxn id="3" idx="3"/>
              <a:endCxn id="4" idx="1"/>
            </p:cNvCxnSpPr>
            <p:nvPr/>
          </p:nvCxnSpPr>
          <p:spPr>
            <a:xfrm>
              <a:off x="5097379" y="1331494"/>
              <a:ext cx="1375611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970CC48-78EA-471C-9AE0-A35F305DF114}"/>
                </a:ext>
              </a:extLst>
            </p:cNvPr>
            <p:cNvSpPr txBox="1"/>
            <p:nvPr/>
          </p:nvSpPr>
          <p:spPr>
            <a:xfrm>
              <a:off x="2101516" y="399072"/>
              <a:ext cx="1797375" cy="9691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Vengono trascritti sul registro distribuito i dati dell’asset e dei proprietari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C1B5504-A2A7-449E-AF3B-75380E99055D}"/>
                </a:ext>
              </a:extLst>
            </p:cNvPr>
            <p:cNvSpPr txBox="1"/>
            <p:nvPr/>
          </p:nvSpPr>
          <p:spPr>
            <a:xfrm>
              <a:off x="4675615" y="399072"/>
              <a:ext cx="1797375" cy="9691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Gli investitori ricevono i token rappresentativi della proprietà sull’asset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68A8E9B-A461-439B-B8FB-24F81CFD4991}"/>
                </a:ext>
              </a:extLst>
            </p:cNvPr>
            <p:cNvSpPr txBox="1"/>
            <p:nvPr/>
          </p:nvSpPr>
          <p:spPr>
            <a:xfrm>
              <a:off x="3477127" y="2711115"/>
              <a:ext cx="3661611" cy="7584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l custode gestisce l’asset e si assicura di mantenere aggiornato il registro distribuito con gli eventi che avvengono nel mondo Off-Chai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489708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84149639-F695-467C-997E-FE3FE102CD4A}"/>
              </a:ext>
            </a:extLst>
          </p:cNvPr>
          <p:cNvGrpSpPr/>
          <p:nvPr/>
        </p:nvGrpSpPr>
        <p:grpSpPr>
          <a:xfrm>
            <a:off x="577516" y="272716"/>
            <a:ext cx="6673515" cy="1235242"/>
            <a:chOff x="577516" y="272716"/>
            <a:chExt cx="6673515" cy="1235242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A08EACDE-7961-4328-8B8F-202A1C2605A0}"/>
                </a:ext>
              </a:extLst>
            </p:cNvPr>
            <p:cNvSpPr/>
            <p:nvPr/>
          </p:nvSpPr>
          <p:spPr>
            <a:xfrm>
              <a:off x="577516" y="433137"/>
              <a:ext cx="3096126" cy="9144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ORGANISMO DI INVESTIMENTO COLLETTIVO DEL RISPARMIO (OICR)</a:t>
              </a: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704B8706-24EF-4751-A105-3D1C20DD296C}"/>
                </a:ext>
              </a:extLst>
            </p:cNvPr>
            <p:cNvSpPr/>
            <p:nvPr/>
          </p:nvSpPr>
          <p:spPr>
            <a:xfrm>
              <a:off x="4154905" y="962527"/>
              <a:ext cx="3096126" cy="38501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ICAV/SICAF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905DC36-184F-48A0-841D-FC643FE32B07}"/>
                </a:ext>
              </a:extLst>
            </p:cNvPr>
            <p:cNvSpPr/>
            <p:nvPr/>
          </p:nvSpPr>
          <p:spPr>
            <a:xfrm>
              <a:off x="4154905" y="433137"/>
              <a:ext cx="3096126" cy="38501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FONDI COMUNI DI INVESTIMENTO</a:t>
              </a:r>
            </a:p>
          </p:txBody>
        </p:sp>
        <p:sp>
          <p:nvSpPr>
            <p:cNvPr id="6" name="Left Brace 5">
              <a:extLst>
                <a:ext uri="{FF2B5EF4-FFF2-40B4-BE49-F238E27FC236}">
                  <a16:creationId xmlns:a16="http://schemas.microsoft.com/office/drawing/2014/main" id="{E810FBEC-5D97-4A32-BD79-E4C25923DB99}"/>
                </a:ext>
              </a:extLst>
            </p:cNvPr>
            <p:cNvSpPr/>
            <p:nvPr/>
          </p:nvSpPr>
          <p:spPr>
            <a:xfrm>
              <a:off x="3785937" y="272716"/>
              <a:ext cx="481263" cy="1235242"/>
            </a:xfrm>
            <a:prstGeom prst="leftBrace">
              <a:avLst>
                <a:gd name="adj1" fmla="val 55000"/>
                <a:gd name="adj2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</p:grpSp>
    </p:spTree>
    <p:extLst>
      <p:ext uri="{BB962C8B-B14F-4D97-AF65-F5344CB8AC3E}">
        <p14:creationId xmlns:p14="http://schemas.microsoft.com/office/powerpoint/2010/main" val="41054972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>
            <a:extLst>
              <a:ext uri="{FF2B5EF4-FFF2-40B4-BE49-F238E27FC236}">
                <a16:creationId xmlns:a16="http://schemas.microsoft.com/office/drawing/2014/main" id="{444635A0-E07B-472D-BB17-0D38E4B9CE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9036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38" name="Object 37" hidden="1">
                        <a:extLst>
                          <a:ext uri="{FF2B5EF4-FFF2-40B4-BE49-F238E27FC236}">
                            <a16:creationId xmlns:a16="http://schemas.microsoft.com/office/drawing/2014/main" id="{444635A0-E07B-472D-BB17-0D38E4B9CE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9" name="Group 38">
            <a:extLst>
              <a:ext uri="{FF2B5EF4-FFF2-40B4-BE49-F238E27FC236}">
                <a16:creationId xmlns:a16="http://schemas.microsoft.com/office/drawing/2014/main" id="{E06CFEF3-70C4-4892-AD39-8772633F7B7B}"/>
              </a:ext>
            </a:extLst>
          </p:cNvPr>
          <p:cNvGrpSpPr/>
          <p:nvPr/>
        </p:nvGrpSpPr>
        <p:grpSpPr>
          <a:xfrm>
            <a:off x="541420" y="678245"/>
            <a:ext cx="4937477" cy="3269208"/>
            <a:chOff x="541420" y="678245"/>
            <a:chExt cx="4937477" cy="3269208"/>
          </a:xfrm>
        </p:grpSpPr>
        <p:sp>
          <p:nvSpPr>
            <p:cNvPr id="37" name="Arrow: Down 36">
              <a:extLst>
                <a:ext uri="{FF2B5EF4-FFF2-40B4-BE49-F238E27FC236}">
                  <a16:creationId xmlns:a16="http://schemas.microsoft.com/office/drawing/2014/main" id="{6B719932-C847-49B1-9779-3F9BDF0E2DFE}"/>
                </a:ext>
              </a:extLst>
            </p:cNvPr>
            <p:cNvSpPr/>
            <p:nvPr/>
          </p:nvSpPr>
          <p:spPr>
            <a:xfrm rot="12287027">
              <a:off x="1879371" y="1062854"/>
              <a:ext cx="76854" cy="2124000"/>
            </a:xfrm>
            <a:prstGeom prst="downArrow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C19D85E6-EB1F-4FF4-9D57-2E81B73EF43E}"/>
                </a:ext>
              </a:extLst>
            </p:cNvPr>
            <p:cNvGrpSpPr/>
            <p:nvPr/>
          </p:nvGrpSpPr>
          <p:grpSpPr>
            <a:xfrm>
              <a:off x="2270355" y="714246"/>
              <a:ext cx="1427747" cy="3233207"/>
              <a:chOff x="2283634" y="714246"/>
              <a:chExt cx="1427747" cy="3233207"/>
            </a:xfrm>
          </p:grpSpPr>
          <p:sp>
            <p:nvSpPr>
              <p:cNvPr id="2" name="Rectangle: Rounded Corners 1">
                <a:extLst>
                  <a:ext uri="{FF2B5EF4-FFF2-40B4-BE49-F238E27FC236}">
                    <a16:creationId xmlns:a16="http://schemas.microsoft.com/office/drawing/2014/main" id="{5055F3E8-B8BF-4EA5-9BCD-2E9537BEDEBA}"/>
                  </a:ext>
                </a:extLst>
              </p:cNvPr>
              <p:cNvSpPr/>
              <p:nvPr/>
            </p:nvSpPr>
            <p:spPr>
              <a:xfrm>
                <a:off x="2283634" y="714246"/>
                <a:ext cx="1427747" cy="420441"/>
              </a:xfrm>
              <a:prstGeom prst="round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sz="1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ocietà di Gestione del Risparmio</a:t>
                </a:r>
              </a:p>
            </p:txBody>
          </p:sp>
          <p:sp>
            <p:nvSpPr>
              <p:cNvPr id="3" name="Arrow: Down 2">
                <a:extLst>
                  <a:ext uri="{FF2B5EF4-FFF2-40B4-BE49-F238E27FC236}">
                    <a16:creationId xmlns:a16="http://schemas.microsoft.com/office/drawing/2014/main" id="{561406CF-6A1A-48AC-AC66-0E738714EFF8}"/>
                  </a:ext>
                </a:extLst>
              </p:cNvPr>
              <p:cNvSpPr/>
              <p:nvPr/>
            </p:nvSpPr>
            <p:spPr>
              <a:xfrm>
                <a:off x="2959080" y="1166585"/>
                <a:ext cx="76854" cy="255182"/>
              </a:xfrm>
              <a:prstGeom prst="downArrow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4" name="Rectangle: Rounded Corners 3">
                <a:extLst>
                  <a:ext uri="{FF2B5EF4-FFF2-40B4-BE49-F238E27FC236}">
                    <a16:creationId xmlns:a16="http://schemas.microsoft.com/office/drawing/2014/main" id="{25AFC872-609C-44C6-A818-328FE06976AD}"/>
                  </a:ext>
                </a:extLst>
              </p:cNvPr>
              <p:cNvSpPr/>
              <p:nvPr/>
            </p:nvSpPr>
            <p:spPr>
              <a:xfrm>
                <a:off x="2283634" y="1471934"/>
                <a:ext cx="1427747" cy="420441"/>
              </a:xfrm>
              <a:prstGeom prst="round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sz="1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anca depositaria</a:t>
                </a:r>
              </a:p>
            </p:txBody>
          </p:sp>
          <p:sp>
            <p:nvSpPr>
              <p:cNvPr id="5" name="Arrow: Down 4">
                <a:extLst>
                  <a:ext uri="{FF2B5EF4-FFF2-40B4-BE49-F238E27FC236}">
                    <a16:creationId xmlns:a16="http://schemas.microsoft.com/office/drawing/2014/main" id="{1F7CA116-40A2-4E55-B093-B8E1C9FBDAC1}"/>
                  </a:ext>
                </a:extLst>
              </p:cNvPr>
              <p:cNvSpPr/>
              <p:nvPr/>
            </p:nvSpPr>
            <p:spPr>
              <a:xfrm>
                <a:off x="2959080" y="1942542"/>
                <a:ext cx="76854" cy="255182"/>
              </a:xfrm>
              <a:prstGeom prst="downArrow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924F2FCB-C035-4A31-9E77-502B2C313665}"/>
                  </a:ext>
                </a:extLst>
              </p:cNvPr>
              <p:cNvSpPr/>
              <p:nvPr/>
            </p:nvSpPr>
            <p:spPr>
              <a:xfrm>
                <a:off x="2283634" y="2229621"/>
                <a:ext cx="1427746" cy="960145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it-IT" sz="1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ondo Immobiliare</a:t>
                </a:r>
              </a:p>
            </p:txBody>
          </p:sp>
          <p:sp>
            <p:nvSpPr>
              <p:cNvPr id="7" name="Rectangle: Rounded Corners 6">
                <a:extLst>
                  <a:ext uri="{FF2B5EF4-FFF2-40B4-BE49-F238E27FC236}">
                    <a16:creationId xmlns:a16="http://schemas.microsoft.com/office/drawing/2014/main" id="{1024FEF4-57D2-4E55-9FEE-025024F5BE96}"/>
                  </a:ext>
                </a:extLst>
              </p:cNvPr>
              <p:cNvSpPr/>
              <p:nvPr/>
            </p:nvSpPr>
            <p:spPr>
              <a:xfrm>
                <a:off x="2640570" y="2806976"/>
                <a:ext cx="713874" cy="21022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sz="1000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mmobili</a:t>
                </a:r>
              </a:p>
            </p:txBody>
          </p:sp>
          <p:sp>
            <p:nvSpPr>
              <p:cNvPr id="8" name="Rectangle: Rounded Corners 7">
                <a:extLst>
                  <a:ext uri="{FF2B5EF4-FFF2-40B4-BE49-F238E27FC236}">
                    <a16:creationId xmlns:a16="http://schemas.microsoft.com/office/drawing/2014/main" id="{9F6E2529-09AB-4FE3-A528-55C08A6F660D}"/>
                  </a:ext>
                </a:extLst>
              </p:cNvPr>
              <p:cNvSpPr/>
              <p:nvPr/>
            </p:nvSpPr>
            <p:spPr>
              <a:xfrm>
                <a:off x="2283634" y="3527012"/>
                <a:ext cx="1427747" cy="420441"/>
              </a:xfrm>
              <a:prstGeom prst="round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sz="1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vestitori</a:t>
                </a:r>
              </a:p>
            </p:txBody>
          </p:sp>
          <p:sp>
            <p:nvSpPr>
              <p:cNvPr id="10" name="Arrow: Up-Down 9">
                <a:extLst>
                  <a:ext uri="{FF2B5EF4-FFF2-40B4-BE49-F238E27FC236}">
                    <a16:creationId xmlns:a16="http://schemas.microsoft.com/office/drawing/2014/main" id="{1BB8F316-BB16-48F0-98FF-F3ADA8F785B2}"/>
                  </a:ext>
                </a:extLst>
              </p:cNvPr>
              <p:cNvSpPr/>
              <p:nvPr/>
            </p:nvSpPr>
            <p:spPr>
              <a:xfrm>
                <a:off x="2959707" y="3226643"/>
                <a:ext cx="75600" cy="255600"/>
              </a:xfrm>
              <a:prstGeom prst="upDownArrow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</p:grp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2ECC1AB6-E8B8-46DB-AAA7-7D601FEC2EF0}"/>
                </a:ext>
              </a:extLst>
            </p:cNvPr>
            <p:cNvSpPr/>
            <p:nvPr/>
          </p:nvSpPr>
          <p:spPr>
            <a:xfrm>
              <a:off x="541420" y="3146084"/>
              <a:ext cx="1427747" cy="420441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ocietà di revisione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E9D0A9EF-542C-4443-9843-DFC45EA9304D}"/>
                </a:ext>
              </a:extLst>
            </p:cNvPr>
            <p:cNvSpPr/>
            <p:nvPr/>
          </p:nvSpPr>
          <p:spPr>
            <a:xfrm>
              <a:off x="4051150" y="3144221"/>
              <a:ext cx="1427747" cy="420441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Esperti indipendenti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2320B629-8DE2-4314-B310-EFC4C7FF12E5}"/>
                </a:ext>
              </a:extLst>
            </p:cNvPr>
            <p:cNvSpPr/>
            <p:nvPr/>
          </p:nvSpPr>
          <p:spPr>
            <a:xfrm>
              <a:off x="1127051" y="1471933"/>
              <a:ext cx="842116" cy="420441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onsob</a:t>
              </a: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D64601D5-3838-4FF5-9FF9-86AF6C9336DD}"/>
                </a:ext>
              </a:extLst>
            </p:cNvPr>
            <p:cNvSpPr/>
            <p:nvPr/>
          </p:nvSpPr>
          <p:spPr>
            <a:xfrm>
              <a:off x="4051150" y="1471932"/>
              <a:ext cx="779625" cy="420441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Banca d’Italia</a:t>
              </a:r>
            </a:p>
          </p:txBody>
        </p:sp>
        <p:sp>
          <p:nvSpPr>
            <p:cNvPr id="17" name="Arrow: Bent-Up 16">
              <a:extLst>
                <a:ext uri="{FF2B5EF4-FFF2-40B4-BE49-F238E27FC236}">
                  <a16:creationId xmlns:a16="http://schemas.microsoft.com/office/drawing/2014/main" id="{43B39994-CC26-42B2-914C-2BDE39DCC25E}"/>
                </a:ext>
              </a:extLst>
            </p:cNvPr>
            <p:cNvSpPr/>
            <p:nvPr/>
          </p:nvSpPr>
          <p:spPr>
            <a:xfrm rot="10800000">
              <a:off x="914400" y="906378"/>
              <a:ext cx="1287264" cy="2110818"/>
            </a:xfrm>
            <a:prstGeom prst="bentUpArrow">
              <a:avLst>
                <a:gd name="adj1" fmla="val 2119"/>
                <a:gd name="adj2" fmla="val 5252"/>
                <a:gd name="adj3" fmla="val 9746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8" name="Arrow: Bent-Up 17">
              <a:extLst>
                <a:ext uri="{FF2B5EF4-FFF2-40B4-BE49-F238E27FC236}">
                  <a16:creationId xmlns:a16="http://schemas.microsoft.com/office/drawing/2014/main" id="{7BD7AEE9-CD40-4C0A-9D84-AAD7C25C6E04}"/>
                </a:ext>
              </a:extLst>
            </p:cNvPr>
            <p:cNvSpPr/>
            <p:nvPr/>
          </p:nvSpPr>
          <p:spPr>
            <a:xfrm rot="10800000" flipH="1">
              <a:off x="3766792" y="906378"/>
              <a:ext cx="1287264" cy="2110818"/>
            </a:xfrm>
            <a:prstGeom prst="bentUpArrow">
              <a:avLst>
                <a:gd name="adj1" fmla="val 2119"/>
                <a:gd name="adj2" fmla="val 5252"/>
                <a:gd name="adj3" fmla="val 9746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663078A-C0FA-43E0-9386-2DD013E81393}"/>
                </a:ext>
              </a:extLst>
            </p:cNvPr>
            <p:cNvSpPr txBox="1"/>
            <p:nvPr/>
          </p:nvSpPr>
          <p:spPr>
            <a:xfrm>
              <a:off x="3908971" y="678245"/>
              <a:ext cx="100290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Nomina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6EC7F48-202C-43E7-9819-0F68B1D59F03}"/>
                </a:ext>
              </a:extLst>
            </p:cNvPr>
            <p:cNvSpPr txBox="1"/>
            <p:nvPr/>
          </p:nvSpPr>
          <p:spPr>
            <a:xfrm>
              <a:off x="1046656" y="678245"/>
              <a:ext cx="100290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Nomina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854F3A-3900-4931-A53F-E07D9A5876AB}"/>
                </a:ext>
              </a:extLst>
            </p:cNvPr>
            <p:cNvSpPr txBox="1"/>
            <p:nvPr/>
          </p:nvSpPr>
          <p:spPr>
            <a:xfrm>
              <a:off x="1198758" y="988599"/>
              <a:ext cx="100290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Vigila</a:t>
              </a:r>
            </a:p>
          </p:txBody>
        </p:sp>
        <p:sp>
          <p:nvSpPr>
            <p:cNvPr id="22" name="Arrow: Down 21">
              <a:extLst>
                <a:ext uri="{FF2B5EF4-FFF2-40B4-BE49-F238E27FC236}">
                  <a16:creationId xmlns:a16="http://schemas.microsoft.com/office/drawing/2014/main" id="{1A5D3EAE-3AFF-489B-B7EB-3D2B15B87D33}"/>
                </a:ext>
              </a:extLst>
            </p:cNvPr>
            <p:cNvSpPr/>
            <p:nvPr/>
          </p:nvSpPr>
          <p:spPr>
            <a:xfrm rot="14316497">
              <a:off x="1859860" y="978326"/>
              <a:ext cx="76854" cy="540000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3" name="Arrow: Down 22">
              <a:extLst>
                <a:ext uri="{FF2B5EF4-FFF2-40B4-BE49-F238E27FC236}">
                  <a16:creationId xmlns:a16="http://schemas.microsoft.com/office/drawing/2014/main" id="{9B2043E4-F576-423A-9A78-D47FED0D6743}"/>
                </a:ext>
              </a:extLst>
            </p:cNvPr>
            <p:cNvSpPr/>
            <p:nvPr/>
          </p:nvSpPr>
          <p:spPr>
            <a:xfrm rot="7283503" flipH="1">
              <a:off x="3968093" y="978326"/>
              <a:ext cx="76854" cy="540000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40F4D77-5C91-46B6-A0CE-AB3AD299A8EC}"/>
                </a:ext>
              </a:extLst>
            </p:cNvPr>
            <p:cNvSpPr txBox="1"/>
            <p:nvPr/>
          </p:nvSpPr>
          <p:spPr>
            <a:xfrm>
              <a:off x="3584876" y="988599"/>
              <a:ext cx="166339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utorizza/Vigila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069258FB-D402-4E26-9642-A3B841D8D5F8}"/>
                </a:ext>
              </a:extLst>
            </p:cNvPr>
            <p:cNvSpPr txBox="1"/>
            <p:nvPr/>
          </p:nvSpPr>
          <p:spPr>
            <a:xfrm>
              <a:off x="1407097" y="2085453"/>
              <a:ext cx="100290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Vigila</a:t>
              </a:r>
            </a:p>
          </p:txBody>
        </p:sp>
        <p:sp>
          <p:nvSpPr>
            <p:cNvPr id="27" name="Arrow: Down 26">
              <a:extLst>
                <a:ext uri="{FF2B5EF4-FFF2-40B4-BE49-F238E27FC236}">
                  <a16:creationId xmlns:a16="http://schemas.microsoft.com/office/drawing/2014/main" id="{696D16FC-10A8-4CD7-86FD-72FC22B31E60}"/>
                </a:ext>
              </a:extLst>
            </p:cNvPr>
            <p:cNvSpPr/>
            <p:nvPr/>
          </p:nvSpPr>
          <p:spPr>
            <a:xfrm rot="7283503" flipV="1">
              <a:off x="2110356" y="1859487"/>
              <a:ext cx="76854" cy="540000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D494C332-EE1E-497C-A0CF-015013C42828}"/>
                </a:ext>
              </a:extLst>
            </p:cNvPr>
            <p:cNvSpPr txBox="1"/>
            <p:nvPr/>
          </p:nvSpPr>
          <p:spPr>
            <a:xfrm>
              <a:off x="3399402" y="2051219"/>
              <a:ext cx="171522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utorizza/Vigila/Regola</a:t>
              </a:r>
            </a:p>
          </p:txBody>
        </p:sp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E95423A6-9FBB-44D2-A3BB-0C39C6919C87}"/>
                </a:ext>
              </a:extLst>
            </p:cNvPr>
            <p:cNvSpPr/>
            <p:nvPr/>
          </p:nvSpPr>
          <p:spPr>
            <a:xfrm rot="14316497" flipH="1" flipV="1">
              <a:off x="3710740" y="1779591"/>
              <a:ext cx="76854" cy="540000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5DD02B2-AA72-4DE1-987C-5490D0DE08E9}"/>
                </a:ext>
              </a:extLst>
            </p:cNvPr>
            <p:cNvSpPr txBox="1"/>
            <p:nvPr/>
          </p:nvSpPr>
          <p:spPr>
            <a:xfrm>
              <a:off x="2581970" y="3221663"/>
              <a:ext cx="100290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€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8723608-6CAC-4049-A8C8-CC0472833FD9}"/>
                </a:ext>
              </a:extLst>
            </p:cNvPr>
            <p:cNvSpPr txBox="1"/>
            <p:nvPr/>
          </p:nvSpPr>
          <p:spPr>
            <a:xfrm>
              <a:off x="1094245" y="2606921"/>
              <a:ext cx="100290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ertificano il rendiconto</a:t>
              </a:r>
            </a:p>
          </p:txBody>
        </p:sp>
        <p:sp>
          <p:nvSpPr>
            <p:cNvPr id="32" name="Arrow: Down 31">
              <a:extLst>
                <a:ext uri="{FF2B5EF4-FFF2-40B4-BE49-F238E27FC236}">
                  <a16:creationId xmlns:a16="http://schemas.microsoft.com/office/drawing/2014/main" id="{F5EF50F3-B520-4C06-8907-D9189EE50316}"/>
                </a:ext>
              </a:extLst>
            </p:cNvPr>
            <p:cNvSpPr/>
            <p:nvPr/>
          </p:nvSpPr>
          <p:spPr>
            <a:xfrm rot="14316497">
              <a:off x="1859860" y="2649168"/>
              <a:ext cx="76854" cy="540000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3" name="Arrow: Down 32">
              <a:extLst>
                <a:ext uri="{FF2B5EF4-FFF2-40B4-BE49-F238E27FC236}">
                  <a16:creationId xmlns:a16="http://schemas.microsoft.com/office/drawing/2014/main" id="{9855D85F-B4DF-4C8E-B026-41E792221094}"/>
                </a:ext>
              </a:extLst>
            </p:cNvPr>
            <p:cNvSpPr/>
            <p:nvPr/>
          </p:nvSpPr>
          <p:spPr>
            <a:xfrm rot="7283503" flipH="1">
              <a:off x="3980091" y="2637592"/>
              <a:ext cx="76854" cy="540000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416FD4D-084F-4A3F-BAE7-7B3739746F19}"/>
                </a:ext>
              </a:extLst>
            </p:cNvPr>
            <p:cNvSpPr txBox="1"/>
            <p:nvPr/>
          </p:nvSpPr>
          <p:spPr>
            <a:xfrm>
              <a:off x="3451231" y="2697019"/>
              <a:ext cx="166339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Valutano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0228DB89-A40E-4BC6-B618-D0047FD446AA}"/>
                </a:ext>
              </a:extLst>
            </p:cNvPr>
            <p:cNvSpPr txBox="1"/>
            <p:nvPr/>
          </p:nvSpPr>
          <p:spPr>
            <a:xfrm>
              <a:off x="2312504" y="1849536"/>
              <a:ext cx="70979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ontrolla NAV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13B8429C-BFD3-40C4-A781-A7BE07F32C83}"/>
                </a:ext>
              </a:extLst>
            </p:cNvPr>
            <p:cNvSpPr txBox="1"/>
            <p:nvPr/>
          </p:nvSpPr>
          <p:spPr>
            <a:xfrm>
              <a:off x="2788028" y="1154233"/>
              <a:ext cx="100290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ncaric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646203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text, mirror, reflection, round&#10;&#10;Description automatically generated">
            <a:extLst>
              <a:ext uri="{FF2B5EF4-FFF2-40B4-BE49-F238E27FC236}">
                <a16:creationId xmlns:a16="http://schemas.microsoft.com/office/drawing/2014/main" id="{10FFC5E7-1767-4D0D-A668-F0D2B065B6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607794" y="0"/>
            <a:ext cx="6445448" cy="6858000"/>
          </a:xfrm>
          <a:custGeom>
            <a:avLst/>
            <a:gdLst>
              <a:gd name="connsiteX0" fmla="*/ 3222724 w 6445448"/>
              <a:gd name="connsiteY0" fmla="*/ 1049311 h 6858000"/>
              <a:gd name="connsiteX1" fmla="*/ 696881 w 6445448"/>
              <a:gd name="connsiteY1" fmla="*/ 3575154 h 6858000"/>
              <a:gd name="connsiteX2" fmla="*/ 3222724 w 6445448"/>
              <a:gd name="connsiteY2" fmla="*/ 6100997 h 6858000"/>
              <a:gd name="connsiteX3" fmla="*/ 5748567 w 6445448"/>
              <a:gd name="connsiteY3" fmla="*/ 3575154 h 6858000"/>
              <a:gd name="connsiteX4" fmla="*/ 3222724 w 6445448"/>
              <a:gd name="connsiteY4" fmla="*/ 1049311 h 6858000"/>
              <a:gd name="connsiteX5" fmla="*/ 0 w 6445448"/>
              <a:gd name="connsiteY5" fmla="*/ 0 h 6858000"/>
              <a:gd name="connsiteX6" fmla="*/ 6445448 w 6445448"/>
              <a:gd name="connsiteY6" fmla="*/ 0 h 6858000"/>
              <a:gd name="connsiteX7" fmla="*/ 6445448 w 6445448"/>
              <a:gd name="connsiteY7" fmla="*/ 6858000 h 6858000"/>
              <a:gd name="connsiteX8" fmla="*/ 0 w 644544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445448" h="6858000">
                <a:moveTo>
                  <a:pt x="3222724" y="1049311"/>
                </a:moveTo>
                <a:cubicBezTo>
                  <a:pt x="1827739" y="1049311"/>
                  <a:pt x="696881" y="2180169"/>
                  <a:pt x="696881" y="3575154"/>
                </a:cubicBezTo>
                <a:cubicBezTo>
                  <a:pt x="696881" y="4970139"/>
                  <a:pt x="1827739" y="6100997"/>
                  <a:pt x="3222724" y="6100997"/>
                </a:cubicBezTo>
                <a:cubicBezTo>
                  <a:pt x="4617709" y="6100997"/>
                  <a:pt x="5748567" y="4970139"/>
                  <a:pt x="5748567" y="3575154"/>
                </a:cubicBezTo>
                <a:cubicBezTo>
                  <a:pt x="5748567" y="2180169"/>
                  <a:pt x="4617709" y="1049311"/>
                  <a:pt x="3222724" y="1049311"/>
                </a:cubicBezTo>
                <a:close/>
                <a:moveTo>
                  <a:pt x="0" y="0"/>
                </a:moveTo>
                <a:lnTo>
                  <a:pt x="6445448" y="0"/>
                </a:lnTo>
                <a:lnTo>
                  <a:pt x="6445448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8" name="Picture 7" descr="A picture containing text, mirror, reflection, round&#10;&#10;Description automatically generated">
            <a:extLst>
              <a:ext uri="{FF2B5EF4-FFF2-40B4-BE49-F238E27FC236}">
                <a16:creationId xmlns:a16="http://schemas.microsoft.com/office/drawing/2014/main" id="{9626B953-1BA2-461A-AE2F-8E6B720A14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13549" y1="48672" x2="20033" y2="33203"/>
                        <a14:foregroundMark x1="20033" y1="33203" x2="24938" y2="2960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4076" y="0"/>
            <a:ext cx="644544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9894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" name="Group 66">
            <a:extLst>
              <a:ext uri="{FF2B5EF4-FFF2-40B4-BE49-F238E27FC236}">
                <a16:creationId xmlns:a16="http://schemas.microsoft.com/office/drawing/2014/main" id="{C1253F94-4F23-4555-8E6D-731278DF08B8}"/>
              </a:ext>
            </a:extLst>
          </p:cNvPr>
          <p:cNvGrpSpPr/>
          <p:nvPr/>
        </p:nvGrpSpPr>
        <p:grpSpPr>
          <a:xfrm>
            <a:off x="3074598" y="681542"/>
            <a:ext cx="4320000" cy="4255741"/>
            <a:chOff x="3074598" y="681542"/>
            <a:chExt cx="4320000" cy="4255741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103A7B9-F119-4E32-BBA5-82BED753F773}"/>
                </a:ext>
              </a:extLst>
            </p:cNvPr>
            <p:cNvSpPr/>
            <p:nvPr/>
          </p:nvSpPr>
          <p:spPr>
            <a:xfrm>
              <a:off x="4514598" y="681542"/>
              <a:ext cx="1440000" cy="3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rivate Ownership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90E5142-B001-4B22-81F3-D144A769297B}"/>
                </a:ext>
              </a:extLst>
            </p:cNvPr>
            <p:cNvSpPr/>
            <p:nvPr/>
          </p:nvSpPr>
          <p:spPr>
            <a:xfrm>
              <a:off x="3074598" y="1150518"/>
              <a:ext cx="1440000" cy="3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rivate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2E66E18-7D5E-47E9-AA81-E784D208CED9}"/>
                </a:ext>
              </a:extLst>
            </p:cNvPr>
            <p:cNvSpPr/>
            <p:nvPr/>
          </p:nvSpPr>
          <p:spPr>
            <a:xfrm>
              <a:off x="5954598" y="1150518"/>
              <a:ext cx="1440000" cy="3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ublic</a:t>
              </a: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4F5B009-7E21-443C-A0FE-A9366089287D}"/>
                </a:ext>
              </a:extLst>
            </p:cNvPr>
            <p:cNvCxnSpPr>
              <a:cxnSpLocks/>
              <a:stCxn id="4" idx="2"/>
              <a:endCxn id="5" idx="0"/>
            </p:cNvCxnSpPr>
            <p:nvPr/>
          </p:nvCxnSpPr>
          <p:spPr>
            <a:xfrm flipH="1">
              <a:off x="3794598" y="1041542"/>
              <a:ext cx="1440000" cy="108976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4E2B6926-031F-4473-8671-146CC106407A}"/>
                </a:ext>
              </a:extLst>
            </p:cNvPr>
            <p:cNvCxnSpPr>
              <a:cxnSpLocks/>
              <a:stCxn id="4" idx="2"/>
              <a:endCxn id="6" idx="0"/>
            </p:cNvCxnSpPr>
            <p:nvPr/>
          </p:nvCxnSpPr>
          <p:spPr>
            <a:xfrm>
              <a:off x="5234598" y="1041542"/>
              <a:ext cx="1440000" cy="108976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2FDA55C1-B54D-48DF-9125-01B6400253C5}"/>
                </a:ext>
              </a:extLst>
            </p:cNvPr>
            <p:cNvSpPr/>
            <p:nvPr/>
          </p:nvSpPr>
          <p:spPr>
            <a:xfrm>
              <a:off x="3794598" y="1721094"/>
              <a:ext cx="1440000" cy="3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 err="1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dividual</a:t>
              </a:r>
              <a:endParaRPr lang="it-IT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BC554BBD-A76A-4151-A9D5-1ABEC01E4937}"/>
                </a:ext>
              </a:extLst>
            </p:cNvPr>
            <p:cNvSpPr/>
            <p:nvPr/>
          </p:nvSpPr>
          <p:spPr>
            <a:xfrm>
              <a:off x="3794598" y="2190070"/>
              <a:ext cx="1440000" cy="3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 err="1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oncurrent</a:t>
              </a:r>
              <a:r>
                <a:rPr lang="it-IT" sz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Ownership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EC03B430-25FD-47CD-A56A-2E50C4826AAD}"/>
                </a:ext>
              </a:extLst>
            </p:cNvPr>
            <p:cNvSpPr/>
            <p:nvPr/>
          </p:nvSpPr>
          <p:spPr>
            <a:xfrm>
              <a:off x="3794598" y="2659046"/>
              <a:ext cx="1440000" cy="3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egal </a:t>
              </a:r>
              <a:r>
                <a:rPr lang="it-IT" sz="1200" dirty="0" err="1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Entities</a:t>
              </a:r>
              <a:endParaRPr lang="it-IT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3B962EF6-DE10-4BA5-BDF4-A60F1FCF62A4}"/>
                </a:ext>
              </a:extLst>
            </p:cNvPr>
            <p:cNvSpPr/>
            <p:nvPr/>
          </p:nvSpPr>
          <p:spPr>
            <a:xfrm>
              <a:off x="5708065" y="1721094"/>
              <a:ext cx="1440000" cy="3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Joint </a:t>
              </a:r>
              <a:r>
                <a:rPr lang="it-IT" sz="1200" dirty="0" err="1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nancy</a:t>
              </a:r>
              <a:endParaRPr lang="it-IT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9547861C-F6D2-4260-A7CA-3E68E7322452}"/>
                </a:ext>
              </a:extLst>
            </p:cNvPr>
            <p:cNvSpPr/>
            <p:nvPr/>
          </p:nvSpPr>
          <p:spPr>
            <a:xfrm>
              <a:off x="5708065" y="2190070"/>
              <a:ext cx="1440000" cy="3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 err="1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nancy</a:t>
              </a:r>
              <a:r>
                <a:rPr lang="it-IT" sz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in Common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8802CF4-B727-4BCA-A209-8E8E34101690}"/>
                </a:ext>
              </a:extLst>
            </p:cNvPr>
            <p:cNvSpPr/>
            <p:nvPr/>
          </p:nvSpPr>
          <p:spPr>
            <a:xfrm>
              <a:off x="5708065" y="2659046"/>
              <a:ext cx="1440000" cy="3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ommunity </a:t>
              </a:r>
              <a:r>
                <a:rPr lang="it-IT" sz="1200" dirty="0" err="1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roperty</a:t>
              </a:r>
              <a:endParaRPr lang="it-IT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F38B62A5-9ED5-4CA6-A101-4EF716194E0E}"/>
                </a:ext>
              </a:extLst>
            </p:cNvPr>
            <p:cNvSpPr/>
            <p:nvPr/>
          </p:nvSpPr>
          <p:spPr>
            <a:xfrm>
              <a:off x="4514598" y="3170355"/>
              <a:ext cx="1440000" cy="3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and Trusts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9717F42-1DF8-4BD5-93AE-486BAB89F67E}"/>
                </a:ext>
              </a:extLst>
            </p:cNvPr>
            <p:cNvSpPr/>
            <p:nvPr/>
          </p:nvSpPr>
          <p:spPr>
            <a:xfrm>
              <a:off x="4514598" y="3639331"/>
              <a:ext cx="1440000" cy="3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artnerships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81D4ADFC-FD4A-403E-AE14-53BD4C92E56F}"/>
                </a:ext>
              </a:extLst>
            </p:cNvPr>
            <p:cNvSpPr/>
            <p:nvPr/>
          </p:nvSpPr>
          <p:spPr>
            <a:xfrm>
              <a:off x="4514598" y="4108307"/>
              <a:ext cx="1440000" cy="3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orporations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FC20D2BA-1F0D-4C90-85D2-3CE912137AB4}"/>
                </a:ext>
              </a:extLst>
            </p:cNvPr>
            <p:cNvSpPr/>
            <p:nvPr/>
          </p:nvSpPr>
          <p:spPr>
            <a:xfrm>
              <a:off x="4514598" y="4577283"/>
              <a:ext cx="1440000" cy="3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 err="1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ther</a:t>
              </a:r>
              <a:endParaRPr lang="it-IT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A8AF8911-D82E-430D-84AD-36F01EF8DA38}"/>
                </a:ext>
              </a:extLst>
            </p:cNvPr>
            <p:cNvCxnSpPr>
              <a:stCxn id="5" idx="1"/>
            </p:cNvCxnSpPr>
            <p:nvPr/>
          </p:nvCxnSpPr>
          <p:spPr>
            <a:xfrm>
              <a:off x="3074598" y="1330518"/>
              <a:ext cx="0" cy="1031682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5E1548F-A26C-4037-B211-2307B110CEF0}"/>
                </a:ext>
              </a:extLst>
            </p:cNvPr>
            <p:cNvCxnSpPr>
              <a:stCxn id="42" idx="1"/>
            </p:cNvCxnSpPr>
            <p:nvPr/>
          </p:nvCxnSpPr>
          <p:spPr>
            <a:xfrm flipH="1" flipV="1">
              <a:off x="3074598" y="2362200"/>
              <a:ext cx="720000" cy="7870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9600C6ED-9A11-4929-8AA6-136F30E52F88}"/>
                </a:ext>
              </a:extLst>
            </p:cNvPr>
            <p:cNvCxnSpPr>
              <a:cxnSpLocks/>
            </p:cNvCxnSpPr>
            <p:nvPr/>
          </p:nvCxnSpPr>
          <p:spPr>
            <a:xfrm>
              <a:off x="3434598" y="1901094"/>
              <a:ext cx="360000" cy="0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994D420-B43E-4D9F-A9D6-D5ABEC9916AA}"/>
                </a:ext>
              </a:extLst>
            </p:cNvPr>
            <p:cNvCxnSpPr>
              <a:cxnSpLocks/>
            </p:cNvCxnSpPr>
            <p:nvPr/>
          </p:nvCxnSpPr>
          <p:spPr>
            <a:xfrm>
              <a:off x="3434598" y="1901094"/>
              <a:ext cx="0" cy="937952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8C611647-28F9-4E9C-B693-68BA6CD42A86}"/>
                </a:ext>
              </a:extLst>
            </p:cNvPr>
            <p:cNvCxnSpPr>
              <a:stCxn id="43" idx="1"/>
            </p:cNvCxnSpPr>
            <p:nvPr/>
          </p:nvCxnSpPr>
          <p:spPr>
            <a:xfrm flipH="1">
              <a:off x="3434598" y="2839046"/>
              <a:ext cx="360000" cy="0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AB120371-A94B-4633-9CDA-2FFF6F390DEE}"/>
                </a:ext>
              </a:extLst>
            </p:cNvPr>
            <p:cNvCxnSpPr>
              <a:stCxn id="45" idx="1"/>
              <a:endCxn id="42" idx="3"/>
            </p:cNvCxnSpPr>
            <p:nvPr/>
          </p:nvCxnSpPr>
          <p:spPr>
            <a:xfrm flipH="1">
              <a:off x="5234598" y="2370070"/>
              <a:ext cx="473467" cy="0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452B3632-7388-40D3-BFB2-25FB7C30DCEF}"/>
                </a:ext>
              </a:extLst>
            </p:cNvPr>
            <p:cNvCxnSpPr>
              <a:cxnSpLocks/>
            </p:cNvCxnSpPr>
            <p:nvPr/>
          </p:nvCxnSpPr>
          <p:spPr>
            <a:xfrm>
              <a:off x="5348065" y="1901094"/>
              <a:ext cx="360000" cy="0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6C27F941-AD65-4B0E-BAE0-454C547B2AF1}"/>
                </a:ext>
              </a:extLst>
            </p:cNvPr>
            <p:cNvCxnSpPr>
              <a:cxnSpLocks/>
            </p:cNvCxnSpPr>
            <p:nvPr/>
          </p:nvCxnSpPr>
          <p:spPr>
            <a:xfrm>
              <a:off x="5348065" y="1901094"/>
              <a:ext cx="0" cy="937952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3E5C778-6C01-4CA7-B987-9918A30FABDA}"/>
                </a:ext>
              </a:extLst>
            </p:cNvPr>
            <p:cNvCxnSpPr/>
            <p:nvPr/>
          </p:nvCxnSpPr>
          <p:spPr>
            <a:xfrm flipH="1">
              <a:off x="5348065" y="2839046"/>
              <a:ext cx="360000" cy="0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826B8DF0-47C9-47ED-B9B3-DB50ACD4D808}"/>
                </a:ext>
              </a:extLst>
            </p:cNvPr>
            <p:cNvCxnSpPr>
              <a:cxnSpLocks/>
              <a:stCxn id="43" idx="1"/>
            </p:cNvCxnSpPr>
            <p:nvPr/>
          </p:nvCxnSpPr>
          <p:spPr>
            <a:xfrm>
              <a:off x="3794598" y="2839046"/>
              <a:ext cx="0" cy="1918237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38B74E7-6979-49E5-B855-B682CC63FE29}"/>
                </a:ext>
              </a:extLst>
            </p:cNvPr>
            <p:cNvCxnSpPr>
              <a:stCxn id="50" idx="1"/>
            </p:cNvCxnSpPr>
            <p:nvPr/>
          </p:nvCxnSpPr>
          <p:spPr>
            <a:xfrm flipH="1">
              <a:off x="3794598" y="4757283"/>
              <a:ext cx="720000" cy="0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3AFDEDD9-0856-44ED-B36F-036322CD56BF}"/>
                </a:ext>
              </a:extLst>
            </p:cNvPr>
            <p:cNvCxnSpPr>
              <a:stCxn id="47" idx="1"/>
            </p:cNvCxnSpPr>
            <p:nvPr/>
          </p:nvCxnSpPr>
          <p:spPr>
            <a:xfrm flipH="1">
              <a:off x="3794598" y="3350355"/>
              <a:ext cx="720000" cy="0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7490FD0-F36C-4246-BD75-2D745D078B7D}"/>
                </a:ext>
              </a:extLst>
            </p:cNvPr>
            <p:cNvCxnSpPr>
              <a:stCxn id="48" idx="1"/>
            </p:cNvCxnSpPr>
            <p:nvPr/>
          </p:nvCxnSpPr>
          <p:spPr>
            <a:xfrm flipH="1">
              <a:off x="3794598" y="3819331"/>
              <a:ext cx="720000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31E7BD09-DC02-490F-AE0B-8F47BE22E834}"/>
                </a:ext>
              </a:extLst>
            </p:cNvPr>
            <p:cNvCxnSpPr>
              <a:stCxn id="49" idx="1"/>
            </p:cNvCxnSpPr>
            <p:nvPr/>
          </p:nvCxnSpPr>
          <p:spPr>
            <a:xfrm flipH="1">
              <a:off x="3794598" y="4288307"/>
              <a:ext cx="720000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146475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>
            <a:extLst>
              <a:ext uri="{FF2B5EF4-FFF2-40B4-BE49-F238E27FC236}">
                <a16:creationId xmlns:a16="http://schemas.microsoft.com/office/drawing/2014/main" id="{14FBF542-9DD1-4FA5-B296-90A64B7B8275}"/>
              </a:ext>
            </a:extLst>
          </p:cNvPr>
          <p:cNvGrpSpPr/>
          <p:nvPr/>
        </p:nvGrpSpPr>
        <p:grpSpPr>
          <a:xfrm>
            <a:off x="1147237" y="442668"/>
            <a:ext cx="4076698" cy="1846998"/>
            <a:chOff x="1147237" y="442668"/>
            <a:chExt cx="4076698" cy="1846998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19B62E81-D490-49C4-A491-C92CD4C7AC36}"/>
                </a:ext>
              </a:extLst>
            </p:cNvPr>
            <p:cNvGrpSpPr/>
            <p:nvPr/>
          </p:nvGrpSpPr>
          <p:grpSpPr>
            <a:xfrm>
              <a:off x="1147237" y="442668"/>
              <a:ext cx="2108196" cy="1846998"/>
              <a:chOff x="1147237" y="442668"/>
              <a:chExt cx="2108196" cy="1846998"/>
            </a:xfrm>
          </p:grpSpPr>
          <p:cxnSp>
            <p:nvCxnSpPr>
              <p:cNvPr id="5" name="Straight Arrow Connector 4">
                <a:extLst>
                  <a:ext uri="{FF2B5EF4-FFF2-40B4-BE49-F238E27FC236}">
                    <a16:creationId xmlns:a16="http://schemas.microsoft.com/office/drawing/2014/main" id="{78A97FFE-7301-40FD-9061-75D141FB2FD7}"/>
                  </a:ext>
                </a:extLst>
              </p:cNvPr>
              <p:cNvCxnSpPr/>
              <p:nvPr/>
            </p:nvCxnSpPr>
            <p:spPr>
              <a:xfrm flipV="1">
                <a:off x="1456266" y="533400"/>
                <a:ext cx="0" cy="1439334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" name="Straight Arrow Connector 6">
                <a:extLst>
                  <a:ext uri="{FF2B5EF4-FFF2-40B4-BE49-F238E27FC236}">
                    <a16:creationId xmlns:a16="http://schemas.microsoft.com/office/drawing/2014/main" id="{FB62A651-8EB5-4ED6-8BF3-43D388066339}"/>
                  </a:ext>
                </a:extLst>
              </p:cNvPr>
              <p:cNvCxnSpPr/>
              <p:nvPr/>
            </p:nvCxnSpPr>
            <p:spPr>
              <a:xfrm>
                <a:off x="1456266" y="1972734"/>
                <a:ext cx="1600201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7CA132FA-1937-4C93-BEA6-95D06B5A6D52}"/>
                  </a:ext>
                </a:extLst>
              </p:cNvPr>
              <p:cNvCxnSpPr/>
              <p:nvPr/>
            </p:nvCxnSpPr>
            <p:spPr>
              <a:xfrm>
                <a:off x="1634067" y="719667"/>
                <a:ext cx="702733" cy="1117600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3BBF669A-E8DE-442B-8983-FD2B938A22F2}"/>
                  </a:ext>
                </a:extLst>
              </p:cNvPr>
              <p:cNvSpPr txBox="1"/>
              <p:nvPr/>
            </p:nvSpPr>
            <p:spPr>
              <a:xfrm>
                <a:off x="1147237" y="442668"/>
                <a:ext cx="39793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</a:t>
                </a: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775C5DF0-373E-443B-97FC-6CEF37F388A3}"/>
                  </a:ext>
                </a:extLst>
              </p:cNvPr>
              <p:cNvSpPr txBox="1"/>
              <p:nvPr/>
            </p:nvSpPr>
            <p:spPr>
              <a:xfrm>
                <a:off x="2857503" y="2012667"/>
                <a:ext cx="39793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Q</a:t>
                </a:r>
              </a:p>
            </p:txBody>
          </p: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A5AAE5BF-BC75-4AB8-9C70-7CADB6658783}"/>
                  </a:ext>
                </a:extLst>
              </p:cNvPr>
              <p:cNvCxnSpPr/>
              <p:nvPr/>
            </p:nvCxnSpPr>
            <p:spPr>
              <a:xfrm flipH="1">
                <a:off x="1456266" y="1007533"/>
                <a:ext cx="347134" cy="0"/>
              </a:xfrm>
              <a:prstGeom prst="line">
                <a:avLst/>
              </a:prstGeom>
              <a:ln w="9525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54B4789A-D5AA-4628-AFBC-30EB4E2BBDD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456266" y="1397000"/>
                <a:ext cx="609601" cy="0"/>
              </a:xfrm>
              <a:prstGeom prst="line">
                <a:avLst/>
              </a:prstGeom>
              <a:ln w="9525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53C0BEB7-D998-4FEE-A334-0A594DA30631}"/>
                  </a:ext>
                </a:extLst>
              </p:cNvPr>
              <p:cNvCxnSpPr/>
              <p:nvPr/>
            </p:nvCxnSpPr>
            <p:spPr>
              <a:xfrm>
                <a:off x="1803400" y="1007533"/>
                <a:ext cx="0" cy="965201"/>
              </a:xfrm>
              <a:prstGeom prst="line">
                <a:avLst/>
              </a:prstGeom>
              <a:ln w="9525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ADD5DCE6-263A-4F16-8A32-2A99D2DB2D80}"/>
                  </a:ext>
                </a:extLst>
              </p:cNvPr>
              <p:cNvCxnSpPr/>
              <p:nvPr/>
            </p:nvCxnSpPr>
            <p:spPr>
              <a:xfrm>
                <a:off x="2065867" y="1397000"/>
                <a:ext cx="0" cy="575734"/>
              </a:xfrm>
              <a:prstGeom prst="line">
                <a:avLst/>
              </a:prstGeom>
              <a:ln w="9525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</p:cxn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FEEAF8AE-45B4-41E3-8BD1-9028ABD53A16}"/>
                  </a:ext>
                </a:extLst>
              </p:cNvPr>
              <p:cNvSpPr txBox="1"/>
              <p:nvPr/>
            </p:nvSpPr>
            <p:spPr>
              <a:xfrm>
                <a:off x="1608666" y="2012666"/>
                <a:ext cx="39793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Q’’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6B2E50ED-A866-474A-AAA1-B97178199DE9}"/>
                  </a:ext>
                </a:extLst>
              </p:cNvPr>
              <p:cNvSpPr txBox="1"/>
              <p:nvPr/>
            </p:nvSpPr>
            <p:spPr>
              <a:xfrm>
                <a:off x="1866902" y="2012665"/>
                <a:ext cx="39793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Q’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A07B18EC-0F68-41D1-8C9C-CE0E18F04B03}"/>
                  </a:ext>
                </a:extLst>
              </p:cNvPr>
              <p:cNvSpPr txBox="1"/>
              <p:nvPr/>
            </p:nvSpPr>
            <p:spPr>
              <a:xfrm>
                <a:off x="1147239" y="1258500"/>
                <a:ext cx="39793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’</a:t>
                </a: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7DCBDA33-0425-4A41-834C-6DC220EF206B}"/>
                  </a:ext>
                </a:extLst>
              </p:cNvPr>
              <p:cNvSpPr txBox="1"/>
              <p:nvPr/>
            </p:nvSpPr>
            <p:spPr>
              <a:xfrm>
                <a:off x="1147238" y="879903"/>
                <a:ext cx="39793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’’</a:t>
                </a:r>
              </a:p>
            </p:txBody>
          </p: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C1946FF2-0880-4BF3-9B58-984FBC758D1B}"/>
                </a:ext>
              </a:extLst>
            </p:cNvPr>
            <p:cNvGrpSpPr/>
            <p:nvPr/>
          </p:nvGrpSpPr>
          <p:grpSpPr>
            <a:xfrm>
              <a:off x="3115739" y="442668"/>
              <a:ext cx="2108196" cy="1846998"/>
              <a:chOff x="3547540" y="2861101"/>
              <a:chExt cx="2108196" cy="1846998"/>
            </a:xfrm>
          </p:grpSpPr>
          <p:cxnSp>
            <p:nvCxnSpPr>
              <p:cNvPr id="27" name="Straight Arrow Connector 26">
                <a:extLst>
                  <a:ext uri="{FF2B5EF4-FFF2-40B4-BE49-F238E27FC236}">
                    <a16:creationId xmlns:a16="http://schemas.microsoft.com/office/drawing/2014/main" id="{EBCFD897-D70A-4CAE-8FBA-0E37122D79F1}"/>
                  </a:ext>
                </a:extLst>
              </p:cNvPr>
              <p:cNvCxnSpPr/>
              <p:nvPr/>
            </p:nvCxnSpPr>
            <p:spPr>
              <a:xfrm flipV="1">
                <a:off x="3856569" y="2951833"/>
                <a:ext cx="0" cy="1439334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8" name="Straight Arrow Connector 27">
                <a:extLst>
                  <a:ext uri="{FF2B5EF4-FFF2-40B4-BE49-F238E27FC236}">
                    <a16:creationId xmlns:a16="http://schemas.microsoft.com/office/drawing/2014/main" id="{D825E39A-B49C-4629-ACCA-89F599559547}"/>
                  </a:ext>
                </a:extLst>
              </p:cNvPr>
              <p:cNvCxnSpPr/>
              <p:nvPr/>
            </p:nvCxnSpPr>
            <p:spPr>
              <a:xfrm>
                <a:off x="3856569" y="4391167"/>
                <a:ext cx="1600201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F7EBDC-4652-456F-A8CA-69AA9A53B2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08969" y="3339782"/>
                <a:ext cx="1358898" cy="594943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C435E7E8-46B0-4CAF-8F91-9A04D7FA7297}"/>
                  </a:ext>
                </a:extLst>
              </p:cNvPr>
              <p:cNvSpPr txBox="1"/>
              <p:nvPr/>
            </p:nvSpPr>
            <p:spPr>
              <a:xfrm>
                <a:off x="3547540" y="2861101"/>
                <a:ext cx="39793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</a:t>
                </a: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370A4D09-EEF8-4490-8E29-95988F0E09BD}"/>
                  </a:ext>
                </a:extLst>
              </p:cNvPr>
              <p:cNvSpPr txBox="1"/>
              <p:nvPr/>
            </p:nvSpPr>
            <p:spPr>
              <a:xfrm>
                <a:off x="5257806" y="4431100"/>
                <a:ext cx="39793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Q</a:t>
                </a:r>
              </a:p>
            </p:txBody>
          </p: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AF85BDF4-9774-4EDE-9358-D809914EE798}"/>
                  </a:ext>
                </a:extLst>
              </p:cNvPr>
              <p:cNvCxnSpPr/>
              <p:nvPr/>
            </p:nvCxnSpPr>
            <p:spPr>
              <a:xfrm flipH="1">
                <a:off x="3856569" y="3425966"/>
                <a:ext cx="347134" cy="0"/>
              </a:xfrm>
              <a:prstGeom prst="line">
                <a:avLst/>
              </a:prstGeom>
              <a:ln w="9525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BB6DB408-DD4A-46FF-9858-85CB0A5CDD3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856569" y="3815433"/>
                <a:ext cx="1253066" cy="0"/>
              </a:xfrm>
              <a:prstGeom prst="line">
                <a:avLst/>
              </a:prstGeom>
              <a:ln w="9525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FCF1616B-386F-4CF2-BBE0-7E6EA14BA26F}"/>
                  </a:ext>
                </a:extLst>
              </p:cNvPr>
              <p:cNvCxnSpPr/>
              <p:nvPr/>
            </p:nvCxnSpPr>
            <p:spPr>
              <a:xfrm>
                <a:off x="4203703" y="3425966"/>
                <a:ext cx="0" cy="965201"/>
              </a:xfrm>
              <a:prstGeom prst="line">
                <a:avLst/>
              </a:prstGeom>
              <a:ln w="9525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AE5F7616-607D-4827-9518-A0F841D7C30B}"/>
                  </a:ext>
                </a:extLst>
              </p:cNvPr>
              <p:cNvCxnSpPr/>
              <p:nvPr/>
            </p:nvCxnSpPr>
            <p:spPr>
              <a:xfrm>
                <a:off x="5109635" y="3815432"/>
                <a:ext cx="0" cy="575734"/>
              </a:xfrm>
              <a:prstGeom prst="line">
                <a:avLst/>
              </a:prstGeom>
              <a:ln w="9525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</p:cxn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39532724-CAAB-49E0-88CB-B5737E650595}"/>
                  </a:ext>
                </a:extLst>
              </p:cNvPr>
              <p:cNvSpPr txBox="1"/>
              <p:nvPr/>
            </p:nvSpPr>
            <p:spPr>
              <a:xfrm>
                <a:off x="4008969" y="4431099"/>
                <a:ext cx="39793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Q’’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0D85216C-CB73-40F5-AEFE-151CFA76AD1C}"/>
                  </a:ext>
                </a:extLst>
              </p:cNvPr>
              <p:cNvSpPr txBox="1"/>
              <p:nvPr/>
            </p:nvSpPr>
            <p:spPr>
              <a:xfrm>
                <a:off x="4910670" y="4431098"/>
                <a:ext cx="39793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Q’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AED5A7C1-F396-4663-9A3C-45F65BB54F5C}"/>
                  </a:ext>
                </a:extLst>
              </p:cNvPr>
              <p:cNvSpPr txBox="1"/>
              <p:nvPr/>
            </p:nvSpPr>
            <p:spPr>
              <a:xfrm>
                <a:off x="3547542" y="3676933"/>
                <a:ext cx="39793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’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A30FDA28-A424-46ED-90EB-17BFB9FD6D95}"/>
                  </a:ext>
                </a:extLst>
              </p:cNvPr>
              <p:cNvSpPr txBox="1"/>
              <p:nvPr/>
            </p:nvSpPr>
            <p:spPr>
              <a:xfrm>
                <a:off x="3547541" y="3298336"/>
                <a:ext cx="39793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’’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344775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8E803B02-97D2-484E-B945-BD93521E6EAB}"/>
              </a:ext>
            </a:extLst>
          </p:cNvPr>
          <p:cNvGrpSpPr/>
          <p:nvPr/>
        </p:nvGrpSpPr>
        <p:grpSpPr>
          <a:xfrm>
            <a:off x="6518493" y="3949088"/>
            <a:ext cx="2108196" cy="1846998"/>
            <a:chOff x="1147237" y="442668"/>
            <a:chExt cx="2108196" cy="1846998"/>
          </a:xfrm>
        </p:grpSpPr>
        <p:cxnSp>
          <p:nvCxnSpPr>
            <p:cNvPr id="5" name="Straight Arrow Connector 4">
              <a:extLst>
                <a:ext uri="{FF2B5EF4-FFF2-40B4-BE49-F238E27FC236}">
                  <a16:creationId xmlns:a16="http://schemas.microsoft.com/office/drawing/2014/main" id="{78A97FFE-7301-40FD-9061-75D141FB2FD7}"/>
                </a:ext>
              </a:extLst>
            </p:cNvPr>
            <p:cNvCxnSpPr/>
            <p:nvPr/>
          </p:nvCxnSpPr>
          <p:spPr>
            <a:xfrm flipV="1">
              <a:off x="1456266" y="533400"/>
              <a:ext cx="0" cy="143933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FB62A651-8EB5-4ED6-8BF3-43D388066339}"/>
                </a:ext>
              </a:extLst>
            </p:cNvPr>
            <p:cNvCxnSpPr/>
            <p:nvPr/>
          </p:nvCxnSpPr>
          <p:spPr>
            <a:xfrm>
              <a:off x="1456266" y="1972734"/>
              <a:ext cx="1600201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7CA132FA-1937-4C93-BEA6-95D06B5A6D52}"/>
                </a:ext>
              </a:extLst>
            </p:cNvPr>
            <p:cNvCxnSpPr>
              <a:cxnSpLocks/>
            </p:cNvCxnSpPr>
            <p:nvPr/>
          </p:nvCxnSpPr>
          <p:spPr>
            <a:xfrm>
              <a:off x="2264832" y="787400"/>
              <a:ext cx="0" cy="1185334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BBF669A-E8DE-442B-8983-FD2B938A22F2}"/>
                </a:ext>
              </a:extLst>
            </p:cNvPr>
            <p:cNvSpPr txBox="1"/>
            <p:nvPr/>
          </p:nvSpPr>
          <p:spPr>
            <a:xfrm>
              <a:off x="1147237" y="442668"/>
              <a:ext cx="3979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75C5DF0-373E-443B-97FC-6CEF37F388A3}"/>
                </a:ext>
              </a:extLst>
            </p:cNvPr>
            <p:cNvSpPr txBox="1"/>
            <p:nvPr/>
          </p:nvSpPr>
          <p:spPr>
            <a:xfrm>
              <a:off x="2857503" y="2012667"/>
              <a:ext cx="3979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Q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B2E50ED-A866-474A-AAA1-B97178199DE9}"/>
                </a:ext>
              </a:extLst>
            </p:cNvPr>
            <p:cNvSpPr txBox="1"/>
            <p:nvPr/>
          </p:nvSpPr>
          <p:spPr>
            <a:xfrm>
              <a:off x="2006602" y="2007864"/>
              <a:ext cx="6773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Q’=Q’’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A07B18EC-0F68-41D1-8C9C-CE0E18F04B03}"/>
                </a:ext>
              </a:extLst>
            </p:cNvPr>
            <p:cNvSpPr txBox="1"/>
            <p:nvPr/>
          </p:nvSpPr>
          <p:spPr>
            <a:xfrm>
              <a:off x="1147239" y="1258500"/>
              <a:ext cx="3979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’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DCBDA33-0425-4A41-834C-6DC220EF206B}"/>
                </a:ext>
              </a:extLst>
            </p:cNvPr>
            <p:cNvSpPr txBox="1"/>
            <p:nvPr/>
          </p:nvSpPr>
          <p:spPr>
            <a:xfrm>
              <a:off x="1147238" y="879903"/>
              <a:ext cx="3979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’’</a:t>
              </a: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6B8242DC-8515-41E5-A260-A5318E51CA99}"/>
                </a:ext>
              </a:extLst>
            </p:cNvPr>
            <p:cNvCxnSpPr>
              <a:endCxn id="24" idx="3"/>
            </p:cNvCxnSpPr>
            <p:nvPr/>
          </p:nvCxnSpPr>
          <p:spPr>
            <a:xfrm flipH="1">
              <a:off x="1456266" y="1018402"/>
              <a:ext cx="808566" cy="0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2EDB7434-1CD6-48DA-83C6-159C7F76ED5B}"/>
                </a:ext>
              </a:extLst>
            </p:cNvPr>
            <p:cNvCxnSpPr/>
            <p:nvPr/>
          </p:nvCxnSpPr>
          <p:spPr>
            <a:xfrm flipH="1">
              <a:off x="1460497" y="1380067"/>
              <a:ext cx="808566" cy="0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57DEE68E-74B3-4001-89F0-F6F94CE92DF4}"/>
                </a:ext>
              </a:extLst>
            </p:cNvPr>
            <p:cNvSpPr txBox="1"/>
            <p:nvPr/>
          </p:nvSpPr>
          <p:spPr>
            <a:xfrm>
              <a:off x="2286004" y="719667"/>
              <a:ext cx="96942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omanda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D4E1DA9-6FFC-4CB0-AAED-80FBE6158243}"/>
              </a:ext>
            </a:extLst>
          </p:cNvPr>
          <p:cNvGrpSpPr/>
          <p:nvPr/>
        </p:nvGrpSpPr>
        <p:grpSpPr>
          <a:xfrm>
            <a:off x="3898171" y="3414785"/>
            <a:ext cx="2108196" cy="1846998"/>
            <a:chOff x="3898171" y="3414785"/>
            <a:chExt cx="2108196" cy="1846998"/>
          </a:xfrm>
        </p:grpSpPr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F7D47715-0A63-437A-AD4C-3F1A38733216}"/>
                </a:ext>
              </a:extLst>
            </p:cNvPr>
            <p:cNvCxnSpPr/>
            <p:nvPr/>
          </p:nvCxnSpPr>
          <p:spPr>
            <a:xfrm flipV="1">
              <a:off x="4207200" y="3505517"/>
              <a:ext cx="0" cy="143933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9877156A-E90D-41F2-A16F-2963C5617242}"/>
                </a:ext>
              </a:extLst>
            </p:cNvPr>
            <p:cNvCxnSpPr/>
            <p:nvPr/>
          </p:nvCxnSpPr>
          <p:spPr>
            <a:xfrm>
              <a:off x="4207200" y="4944851"/>
              <a:ext cx="1600201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E091E6BE-1737-4BA6-87AF-94DD422A608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232167" y="3990518"/>
              <a:ext cx="1321239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90C6FFC9-53FB-4682-8BDB-566D6C1EC8F7}"/>
                </a:ext>
              </a:extLst>
            </p:cNvPr>
            <p:cNvSpPr txBox="1"/>
            <p:nvPr/>
          </p:nvSpPr>
          <p:spPr>
            <a:xfrm>
              <a:off x="3898171" y="3414785"/>
              <a:ext cx="3979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90FFD87D-9490-403C-A197-4C6E44654516}"/>
                </a:ext>
              </a:extLst>
            </p:cNvPr>
            <p:cNvSpPr txBox="1"/>
            <p:nvPr/>
          </p:nvSpPr>
          <p:spPr>
            <a:xfrm>
              <a:off x="5608437" y="4984784"/>
              <a:ext cx="3979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Q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252632C-CEB0-4C3D-B19C-4F14B8C179F3}"/>
                </a:ext>
              </a:extLst>
            </p:cNvPr>
            <p:cNvSpPr txBox="1"/>
            <p:nvPr/>
          </p:nvSpPr>
          <p:spPr>
            <a:xfrm>
              <a:off x="4569161" y="4979981"/>
              <a:ext cx="3979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Q’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31D906B-3BF6-4AC1-BFF5-78442D167C3E}"/>
                </a:ext>
              </a:extLst>
            </p:cNvPr>
            <p:cNvSpPr txBox="1"/>
            <p:nvPr/>
          </p:nvSpPr>
          <p:spPr>
            <a:xfrm>
              <a:off x="3898171" y="3852019"/>
              <a:ext cx="3979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’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1D08173C-BB53-4589-A46E-A2EA6599E7AA}"/>
                </a:ext>
              </a:extLst>
            </p:cNvPr>
            <p:cNvSpPr txBox="1"/>
            <p:nvPr/>
          </p:nvSpPr>
          <p:spPr>
            <a:xfrm>
              <a:off x="5036938" y="3691784"/>
              <a:ext cx="96942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omanda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B0FF11E-CE3E-4FDE-8DFB-3786E8F7C13A}"/>
                </a:ext>
              </a:extLst>
            </p:cNvPr>
            <p:cNvSpPr txBox="1"/>
            <p:nvPr/>
          </p:nvSpPr>
          <p:spPr>
            <a:xfrm>
              <a:off x="5180873" y="4979981"/>
              <a:ext cx="3979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Q’’</a:t>
              </a: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3EC71287-1716-45EE-B106-E9204B98193A}"/>
                </a:ext>
              </a:extLst>
            </p:cNvPr>
            <p:cNvCxnSpPr>
              <a:stCxn id="20" idx="0"/>
            </p:cNvCxnSpPr>
            <p:nvPr/>
          </p:nvCxnSpPr>
          <p:spPr>
            <a:xfrm flipV="1">
              <a:off x="4768126" y="3990518"/>
              <a:ext cx="0" cy="989463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627C4F3D-D675-45F3-9AFD-CCA34C6AB7C8}"/>
                </a:ext>
              </a:extLst>
            </p:cNvPr>
            <p:cNvCxnSpPr/>
            <p:nvPr/>
          </p:nvCxnSpPr>
          <p:spPr>
            <a:xfrm flipV="1">
              <a:off x="5313694" y="3955388"/>
              <a:ext cx="0" cy="989463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3EE7D48-0481-4688-BDB0-1263503742C5}"/>
              </a:ext>
            </a:extLst>
          </p:cNvPr>
          <p:cNvGrpSpPr/>
          <p:nvPr/>
        </p:nvGrpSpPr>
        <p:grpSpPr>
          <a:xfrm>
            <a:off x="5488045" y="2448339"/>
            <a:ext cx="2386023" cy="1846998"/>
            <a:chOff x="6240666" y="2046062"/>
            <a:chExt cx="2386023" cy="1846998"/>
          </a:xfrm>
        </p:grpSpPr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CBA13EA8-9A65-4073-BF20-72909B235F02}"/>
                </a:ext>
              </a:extLst>
            </p:cNvPr>
            <p:cNvCxnSpPr/>
            <p:nvPr/>
          </p:nvCxnSpPr>
          <p:spPr>
            <a:xfrm flipV="1">
              <a:off x="6549695" y="2136794"/>
              <a:ext cx="0" cy="143933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FDD6A488-0BFC-4272-A1DF-1B1BAAE57A13}"/>
                </a:ext>
              </a:extLst>
            </p:cNvPr>
            <p:cNvCxnSpPr/>
            <p:nvPr/>
          </p:nvCxnSpPr>
          <p:spPr>
            <a:xfrm>
              <a:off x="6549695" y="3576128"/>
              <a:ext cx="1600201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DF5176E8-5FA1-44AC-86C5-2058142D235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741470" y="2528080"/>
              <a:ext cx="1144575" cy="807205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0E2EBD6-536D-464F-ADE0-ADD3F3F597C0}"/>
                </a:ext>
              </a:extLst>
            </p:cNvPr>
            <p:cNvSpPr txBox="1"/>
            <p:nvPr/>
          </p:nvSpPr>
          <p:spPr>
            <a:xfrm>
              <a:off x="6240666" y="2046062"/>
              <a:ext cx="3979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8B5E5EC-332D-452F-B1CA-8898CDF544F2}"/>
                </a:ext>
              </a:extLst>
            </p:cNvPr>
            <p:cNvSpPr txBox="1"/>
            <p:nvPr/>
          </p:nvSpPr>
          <p:spPr>
            <a:xfrm>
              <a:off x="7950932" y="3616061"/>
              <a:ext cx="3979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Q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13D3218C-FC4E-4392-A947-63E2E5545538}"/>
                </a:ext>
              </a:extLst>
            </p:cNvPr>
            <p:cNvSpPr txBox="1"/>
            <p:nvPr/>
          </p:nvSpPr>
          <p:spPr>
            <a:xfrm>
              <a:off x="7977794" y="3196785"/>
              <a:ext cx="37106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</a:t>
              </a:r>
            </a:p>
          </p:txBody>
        </p: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8B50F058-F397-4839-8410-D192B092054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060355" y="2162356"/>
              <a:ext cx="1144575" cy="807205"/>
            </a:xfrm>
            <a:prstGeom prst="line">
              <a:avLst/>
            </a:prstGeom>
            <a:ln w="19050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87C12BA4-52DA-4CDD-8D44-D51644168164}"/>
                </a:ext>
              </a:extLst>
            </p:cNvPr>
            <p:cNvSpPr txBox="1"/>
            <p:nvPr/>
          </p:nvSpPr>
          <p:spPr>
            <a:xfrm>
              <a:off x="8255622" y="2884187"/>
              <a:ext cx="37106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’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5AE56D6F-ACC8-4364-97F5-7EDB25AE48BC}"/>
              </a:ext>
            </a:extLst>
          </p:cNvPr>
          <p:cNvGrpSpPr/>
          <p:nvPr/>
        </p:nvGrpSpPr>
        <p:grpSpPr>
          <a:xfrm>
            <a:off x="1032454" y="1056600"/>
            <a:ext cx="2648346" cy="1846998"/>
            <a:chOff x="1032454" y="1056600"/>
            <a:chExt cx="2648346" cy="1846998"/>
          </a:xfrm>
        </p:grpSpPr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74EF8E3B-3B6A-4BAF-B369-8375BB09432C}"/>
                </a:ext>
              </a:extLst>
            </p:cNvPr>
            <p:cNvCxnSpPr/>
            <p:nvPr/>
          </p:nvCxnSpPr>
          <p:spPr>
            <a:xfrm flipV="1">
              <a:off x="1341483" y="1147332"/>
              <a:ext cx="0" cy="143933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F83760B2-E326-4F43-8C2D-1F8157B6A1DC}"/>
                </a:ext>
              </a:extLst>
            </p:cNvPr>
            <p:cNvCxnSpPr/>
            <p:nvPr/>
          </p:nvCxnSpPr>
          <p:spPr>
            <a:xfrm>
              <a:off x="1341483" y="2586666"/>
              <a:ext cx="1600201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2097110C-63B9-4815-B11F-B809297428C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42423" y="1681364"/>
              <a:ext cx="1181648" cy="46720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64FF9510-4009-4CBC-8CD8-606AA6D6A3D9}"/>
                </a:ext>
              </a:extLst>
            </p:cNvPr>
            <p:cNvSpPr txBox="1"/>
            <p:nvPr/>
          </p:nvSpPr>
          <p:spPr>
            <a:xfrm>
              <a:off x="1032454" y="1056600"/>
              <a:ext cx="3979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66F621AA-F1C9-4FD5-B624-BAC7D5492237}"/>
                </a:ext>
              </a:extLst>
            </p:cNvPr>
            <p:cNvSpPr txBox="1"/>
            <p:nvPr/>
          </p:nvSpPr>
          <p:spPr>
            <a:xfrm>
              <a:off x="2742719" y="2626599"/>
              <a:ext cx="93808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Q o S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48FD954-8134-4D8A-8AA1-4CC131915E32}"/>
              </a:ext>
            </a:extLst>
          </p:cNvPr>
          <p:cNvGrpSpPr/>
          <p:nvPr/>
        </p:nvGrpSpPr>
        <p:grpSpPr>
          <a:xfrm>
            <a:off x="985462" y="3067019"/>
            <a:ext cx="2648346" cy="1846998"/>
            <a:chOff x="1032454" y="1056600"/>
            <a:chExt cx="2648346" cy="1846998"/>
          </a:xfrm>
        </p:grpSpPr>
        <p:cxnSp>
          <p:nvCxnSpPr>
            <p:cNvPr id="61" name="Straight Arrow Connector 60">
              <a:extLst>
                <a:ext uri="{FF2B5EF4-FFF2-40B4-BE49-F238E27FC236}">
                  <a16:creationId xmlns:a16="http://schemas.microsoft.com/office/drawing/2014/main" id="{DBFF8484-0399-42E8-B74F-AF449B18B9B1}"/>
                </a:ext>
              </a:extLst>
            </p:cNvPr>
            <p:cNvCxnSpPr/>
            <p:nvPr/>
          </p:nvCxnSpPr>
          <p:spPr>
            <a:xfrm flipV="1">
              <a:off x="1341483" y="1147332"/>
              <a:ext cx="0" cy="143933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B4D52478-2B25-4FE6-A745-C9822128127D}"/>
                </a:ext>
              </a:extLst>
            </p:cNvPr>
            <p:cNvCxnSpPr/>
            <p:nvPr/>
          </p:nvCxnSpPr>
          <p:spPr>
            <a:xfrm>
              <a:off x="1341483" y="2586666"/>
              <a:ext cx="1600201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541384B3-B8A9-432E-99FA-388EB2FFCE72}"/>
                </a:ext>
              </a:extLst>
            </p:cNvPr>
            <p:cNvCxnSpPr>
              <a:cxnSpLocks/>
            </p:cNvCxnSpPr>
            <p:nvPr/>
          </p:nvCxnSpPr>
          <p:spPr>
            <a:xfrm>
              <a:off x="1992846" y="1681365"/>
              <a:ext cx="15499" cy="91243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F9D6F4D3-3920-4269-B5E1-22D388D1FB31}"/>
                </a:ext>
              </a:extLst>
            </p:cNvPr>
            <p:cNvSpPr txBox="1"/>
            <p:nvPr/>
          </p:nvSpPr>
          <p:spPr>
            <a:xfrm>
              <a:off x="1032454" y="1056600"/>
              <a:ext cx="3979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52BDAF90-91A0-4DA8-A736-D6BF0EEED965}"/>
                </a:ext>
              </a:extLst>
            </p:cNvPr>
            <p:cNvSpPr txBox="1"/>
            <p:nvPr/>
          </p:nvSpPr>
          <p:spPr>
            <a:xfrm>
              <a:off x="2742719" y="2626599"/>
              <a:ext cx="93808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Q o S</a:t>
              </a: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CE159E72-F203-4663-81D1-C1F998778063}"/>
              </a:ext>
            </a:extLst>
          </p:cNvPr>
          <p:cNvGrpSpPr/>
          <p:nvPr/>
        </p:nvGrpSpPr>
        <p:grpSpPr>
          <a:xfrm>
            <a:off x="4569161" y="220628"/>
            <a:ext cx="2828114" cy="1846998"/>
            <a:chOff x="4569161" y="220628"/>
            <a:chExt cx="2828114" cy="1846998"/>
          </a:xfrm>
        </p:grpSpPr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2AE3F757-0501-499E-A551-116596C5793D}"/>
                </a:ext>
              </a:extLst>
            </p:cNvPr>
            <p:cNvCxnSpPr/>
            <p:nvPr/>
          </p:nvCxnSpPr>
          <p:spPr>
            <a:xfrm flipV="1">
              <a:off x="5057958" y="311360"/>
              <a:ext cx="0" cy="143933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9" name="Straight Arrow Connector 68">
              <a:extLst>
                <a:ext uri="{FF2B5EF4-FFF2-40B4-BE49-F238E27FC236}">
                  <a16:creationId xmlns:a16="http://schemas.microsoft.com/office/drawing/2014/main" id="{7342F225-25EF-44B9-92DD-3C1F7197F647}"/>
                </a:ext>
              </a:extLst>
            </p:cNvPr>
            <p:cNvCxnSpPr/>
            <p:nvPr/>
          </p:nvCxnSpPr>
          <p:spPr>
            <a:xfrm>
              <a:off x="5057958" y="1750694"/>
              <a:ext cx="1600201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DED25B2F-5979-4BF0-B51E-6997F2DCF3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58898" y="845392"/>
              <a:ext cx="1181648" cy="46720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47291A3E-C42E-416A-AC02-72AA22E0F0AF}"/>
                </a:ext>
              </a:extLst>
            </p:cNvPr>
            <p:cNvSpPr txBox="1"/>
            <p:nvPr/>
          </p:nvSpPr>
          <p:spPr>
            <a:xfrm>
              <a:off x="4748929" y="220628"/>
              <a:ext cx="3979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7949B976-421B-493E-A6AA-3B038BCADDEA}"/>
                </a:ext>
              </a:extLst>
            </p:cNvPr>
            <p:cNvSpPr txBox="1"/>
            <p:nvPr/>
          </p:nvSpPr>
          <p:spPr>
            <a:xfrm>
              <a:off x="6459194" y="1790627"/>
              <a:ext cx="93808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Q o S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3" name="TextBox 72">
                  <a:extLst>
                    <a:ext uri="{FF2B5EF4-FFF2-40B4-BE49-F238E27FC236}">
                      <a16:creationId xmlns:a16="http://schemas.microsoft.com/office/drawing/2014/main" id="{232E9D8E-A789-4EF8-AE3B-C5C85D111127}"/>
                    </a:ext>
                  </a:extLst>
                </p:cNvPr>
                <p:cNvSpPr txBox="1"/>
                <p:nvPr/>
              </p:nvSpPr>
              <p:spPr>
                <a:xfrm>
                  <a:off x="4569161" y="1196696"/>
                  <a:ext cx="397930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it-IT" sz="1200" i="1" dirty="0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it-IT" sz="1200" b="0" i="1" dirty="0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it-IT" sz="1200" b="0" i="1" dirty="0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𝑚𝑖𝑛</m:t>
                            </m:r>
                          </m:sub>
                        </m:sSub>
                      </m:oMath>
                    </m:oMathPara>
                  </a14:m>
                  <a:endParaRPr lang="it-IT" sz="12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73" name="TextBox 72">
                  <a:extLst>
                    <a:ext uri="{FF2B5EF4-FFF2-40B4-BE49-F238E27FC236}">
                      <a16:creationId xmlns:a16="http://schemas.microsoft.com/office/drawing/2014/main" id="{232E9D8E-A789-4EF8-AE3B-C5C85D11112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569161" y="1196696"/>
                  <a:ext cx="397930" cy="276999"/>
                </a:xfrm>
                <a:prstGeom prst="rect">
                  <a:avLst/>
                </a:prstGeom>
                <a:blipFill>
                  <a:blip r:embed="rId2"/>
                  <a:stretch>
                    <a:fillRect r="-7692"/>
                  </a:stretch>
                </a:blipFill>
              </p:spPr>
              <p:txBody>
                <a:bodyPr/>
                <a:lstStyle/>
                <a:p>
                  <a:r>
                    <a:rPr lang="it-IT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79DB1682-0CE5-47E1-85DE-7E489D753031}"/>
                </a:ext>
              </a:extLst>
            </p:cNvPr>
            <p:cNvCxnSpPr/>
            <p:nvPr/>
          </p:nvCxnSpPr>
          <p:spPr>
            <a:xfrm flipH="1">
              <a:off x="5057958" y="1312599"/>
              <a:ext cx="200940" cy="0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072356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AD48CC04-EF3C-4ABE-AFC0-F50C82D13188}"/>
              </a:ext>
            </a:extLst>
          </p:cNvPr>
          <p:cNvCxnSpPr/>
          <p:nvPr/>
        </p:nvCxnSpPr>
        <p:spPr>
          <a:xfrm flipV="1">
            <a:off x="3254983" y="2211020"/>
            <a:ext cx="0" cy="143933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7CEC266B-6B82-4DB4-887D-4F61BECCB193}"/>
              </a:ext>
            </a:extLst>
          </p:cNvPr>
          <p:cNvCxnSpPr/>
          <p:nvPr/>
        </p:nvCxnSpPr>
        <p:spPr>
          <a:xfrm>
            <a:off x="3254983" y="3650354"/>
            <a:ext cx="1600201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DF999D2-BDDC-4DFC-A21B-F4942B2306FF}"/>
              </a:ext>
            </a:extLst>
          </p:cNvPr>
          <p:cNvCxnSpPr>
            <a:cxnSpLocks/>
          </p:cNvCxnSpPr>
          <p:nvPr/>
        </p:nvCxnSpPr>
        <p:spPr>
          <a:xfrm>
            <a:off x="4063549" y="2465020"/>
            <a:ext cx="0" cy="1185334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3BB62D09-0DC9-4686-81C6-6714A151375D}"/>
              </a:ext>
            </a:extLst>
          </p:cNvPr>
          <p:cNvSpPr txBox="1"/>
          <p:nvPr/>
        </p:nvSpPr>
        <p:spPr>
          <a:xfrm>
            <a:off x="2945954" y="2120288"/>
            <a:ext cx="3979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53BCCBF-26D0-4183-87FD-DFC52815AFBA}"/>
              </a:ext>
            </a:extLst>
          </p:cNvPr>
          <p:cNvSpPr txBox="1"/>
          <p:nvPr/>
        </p:nvSpPr>
        <p:spPr>
          <a:xfrm>
            <a:off x="4656220" y="3690287"/>
            <a:ext cx="3979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Q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3A67DC7-5E71-4176-B4A1-8AE43DF8BD3B}"/>
              </a:ext>
            </a:extLst>
          </p:cNvPr>
          <p:cNvSpPr txBox="1"/>
          <p:nvPr/>
        </p:nvSpPr>
        <p:spPr>
          <a:xfrm>
            <a:off x="3805319" y="3685484"/>
            <a:ext cx="6773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Q’=Q’’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75A1D5-52AE-46CC-8F81-13187B796117}"/>
              </a:ext>
            </a:extLst>
          </p:cNvPr>
          <p:cNvSpPr txBox="1"/>
          <p:nvPr/>
        </p:nvSpPr>
        <p:spPr>
          <a:xfrm>
            <a:off x="2945956" y="2936120"/>
            <a:ext cx="3979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’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E8477C5-55CE-4BB2-A774-21434C4E052D}"/>
              </a:ext>
            </a:extLst>
          </p:cNvPr>
          <p:cNvSpPr txBox="1"/>
          <p:nvPr/>
        </p:nvSpPr>
        <p:spPr>
          <a:xfrm>
            <a:off x="2945955" y="2557523"/>
            <a:ext cx="3979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’’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5BEFC99-B951-44D4-8ECD-66B9E080B6BE}"/>
              </a:ext>
            </a:extLst>
          </p:cNvPr>
          <p:cNvCxnSpPr>
            <a:endCxn id="10" idx="3"/>
          </p:cNvCxnSpPr>
          <p:nvPr/>
        </p:nvCxnSpPr>
        <p:spPr>
          <a:xfrm flipH="1">
            <a:off x="3254983" y="2696022"/>
            <a:ext cx="808566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17CFFFB-195C-4A77-899B-29675B38CD63}"/>
              </a:ext>
            </a:extLst>
          </p:cNvPr>
          <p:cNvCxnSpPr/>
          <p:nvPr/>
        </p:nvCxnSpPr>
        <p:spPr>
          <a:xfrm flipH="1">
            <a:off x="3259214" y="3057687"/>
            <a:ext cx="808566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CD63A497-3EDB-4FDB-9D20-502F9DE048EF}"/>
              </a:ext>
            </a:extLst>
          </p:cNvPr>
          <p:cNvSpPr txBox="1"/>
          <p:nvPr/>
        </p:nvSpPr>
        <p:spPr>
          <a:xfrm>
            <a:off x="4084721" y="2397287"/>
            <a:ext cx="969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5E4B762-8B04-47DF-94F8-5A9B4C55AA20}"/>
              </a:ext>
            </a:extLst>
          </p:cNvPr>
          <p:cNvCxnSpPr>
            <a:cxnSpLocks/>
          </p:cNvCxnSpPr>
          <p:nvPr/>
        </p:nvCxnSpPr>
        <p:spPr>
          <a:xfrm>
            <a:off x="3514943" y="2481794"/>
            <a:ext cx="961755" cy="1035336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DAD32FF-172E-4CF0-A5C3-029E617E519A}"/>
              </a:ext>
            </a:extLst>
          </p:cNvPr>
          <p:cNvCxnSpPr>
            <a:cxnSpLocks/>
          </p:cNvCxnSpPr>
          <p:nvPr/>
        </p:nvCxnSpPr>
        <p:spPr>
          <a:xfrm>
            <a:off x="3753728" y="2348532"/>
            <a:ext cx="961755" cy="1035336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99940B75-89B8-4C37-8FED-C06D16BA25C8}"/>
              </a:ext>
            </a:extLst>
          </p:cNvPr>
          <p:cNvSpPr txBox="1"/>
          <p:nvPr/>
        </p:nvSpPr>
        <p:spPr>
          <a:xfrm>
            <a:off x="4131831" y="3355790"/>
            <a:ext cx="3979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’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DAF2265-6C34-48A1-8469-653ECA2816F9}"/>
              </a:ext>
            </a:extLst>
          </p:cNvPr>
          <p:cNvSpPr txBox="1"/>
          <p:nvPr/>
        </p:nvSpPr>
        <p:spPr>
          <a:xfrm>
            <a:off x="4687577" y="3144275"/>
            <a:ext cx="3979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’’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F416D88-E8C0-4008-8557-140F05800C1E}"/>
              </a:ext>
            </a:extLst>
          </p:cNvPr>
          <p:cNvSpPr txBox="1"/>
          <p:nvPr/>
        </p:nvSpPr>
        <p:spPr>
          <a:xfrm>
            <a:off x="3489932" y="1760746"/>
            <a:ext cx="11303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reve termin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774B00F-046F-4DCA-8604-077ADC34925C}"/>
              </a:ext>
            </a:extLst>
          </p:cNvPr>
          <p:cNvGrpSpPr/>
          <p:nvPr/>
        </p:nvGrpSpPr>
        <p:grpSpPr>
          <a:xfrm>
            <a:off x="5165005" y="1760745"/>
            <a:ext cx="2362911" cy="2215282"/>
            <a:chOff x="5165005" y="1760745"/>
            <a:chExt cx="2362911" cy="2215282"/>
          </a:xfrm>
        </p:grpSpPr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B78F379F-9D26-46DA-AEC5-3140D4B4FE9E}"/>
                </a:ext>
              </a:extLst>
            </p:cNvPr>
            <p:cNvCxnSpPr/>
            <p:nvPr/>
          </p:nvCxnSpPr>
          <p:spPr>
            <a:xfrm flipV="1">
              <a:off x="5555182" y="2219761"/>
              <a:ext cx="0" cy="143933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F7275CDA-6ABA-47A2-9E02-EC2011E899CE}"/>
                </a:ext>
              </a:extLst>
            </p:cNvPr>
            <p:cNvCxnSpPr/>
            <p:nvPr/>
          </p:nvCxnSpPr>
          <p:spPr>
            <a:xfrm>
              <a:off x="5555182" y="3659095"/>
              <a:ext cx="1600201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3D9EC67-399E-495E-9186-DADAAF5AF87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86990" y="2460401"/>
              <a:ext cx="1465474" cy="835326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A4ECBA4-D0F8-4A0C-B1AC-B3D5153CC1BC}"/>
                </a:ext>
              </a:extLst>
            </p:cNvPr>
            <p:cNvSpPr txBox="1"/>
            <p:nvPr/>
          </p:nvSpPr>
          <p:spPr>
            <a:xfrm>
              <a:off x="5165005" y="2139346"/>
              <a:ext cx="3979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E50DAF3-4016-459C-AC2B-E43D33754FB3}"/>
                </a:ext>
              </a:extLst>
            </p:cNvPr>
            <p:cNvSpPr txBox="1"/>
            <p:nvPr/>
          </p:nvSpPr>
          <p:spPr>
            <a:xfrm>
              <a:off x="6956419" y="3699028"/>
              <a:ext cx="3979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Q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A0E7A18-3F72-421D-AFA3-0D11C938C2F1}"/>
                </a:ext>
              </a:extLst>
            </p:cNvPr>
            <p:cNvSpPr txBox="1"/>
            <p:nvPr/>
          </p:nvSpPr>
          <p:spPr>
            <a:xfrm>
              <a:off x="6174508" y="3658101"/>
              <a:ext cx="6773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Q’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7B7DE997-ABB9-4DA5-BFC6-8F69100431B6}"/>
                </a:ext>
              </a:extLst>
            </p:cNvPr>
            <p:cNvSpPr txBox="1"/>
            <p:nvPr/>
          </p:nvSpPr>
          <p:spPr>
            <a:xfrm>
              <a:off x="5165007" y="2955178"/>
              <a:ext cx="3979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’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2854726-F197-4098-A875-5C98BA34E14D}"/>
                </a:ext>
              </a:extLst>
            </p:cNvPr>
            <p:cNvSpPr txBox="1"/>
            <p:nvPr/>
          </p:nvSpPr>
          <p:spPr>
            <a:xfrm>
              <a:off x="5165006" y="2576581"/>
              <a:ext cx="3979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’’</a:t>
              </a: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85E37BED-D647-4097-9EFB-B49F2BAB58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61535" y="2746388"/>
              <a:ext cx="1343692" cy="1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0145A896-C2A4-4C4C-B1AB-EDD4F19FD37F}"/>
                </a:ext>
              </a:extLst>
            </p:cNvPr>
            <p:cNvCxnSpPr/>
            <p:nvPr/>
          </p:nvCxnSpPr>
          <p:spPr>
            <a:xfrm flipH="1">
              <a:off x="5559413" y="3066428"/>
              <a:ext cx="808566" cy="0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D547890D-F8C4-4FC3-B35F-031CC7593F68}"/>
                </a:ext>
              </a:extLst>
            </p:cNvPr>
            <p:cNvSpPr txBox="1"/>
            <p:nvPr/>
          </p:nvSpPr>
          <p:spPr>
            <a:xfrm>
              <a:off x="7155383" y="2183402"/>
              <a:ext cx="3725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</a:t>
              </a:r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5AD925F2-5ADF-4803-8557-EC327E9B2204}"/>
                </a:ext>
              </a:extLst>
            </p:cNvPr>
            <p:cNvCxnSpPr>
              <a:cxnSpLocks/>
            </p:cNvCxnSpPr>
            <p:nvPr/>
          </p:nvCxnSpPr>
          <p:spPr>
            <a:xfrm>
              <a:off x="5821096" y="2483942"/>
              <a:ext cx="961755" cy="1035336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E987F3E-4900-4BF0-9185-6E30966FB979}"/>
                </a:ext>
              </a:extLst>
            </p:cNvPr>
            <p:cNvCxnSpPr>
              <a:cxnSpLocks/>
            </p:cNvCxnSpPr>
            <p:nvPr/>
          </p:nvCxnSpPr>
          <p:spPr>
            <a:xfrm>
              <a:off x="6448253" y="2224944"/>
              <a:ext cx="961755" cy="1035336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15F0C5FE-7981-43E4-8BBE-04CB806869F7}"/>
                </a:ext>
              </a:extLst>
            </p:cNvPr>
            <p:cNvSpPr txBox="1"/>
            <p:nvPr/>
          </p:nvSpPr>
          <p:spPr>
            <a:xfrm>
              <a:off x="6983880" y="3094374"/>
              <a:ext cx="3979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’’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55C3CFBF-E3E9-429C-A5BB-41F8ECD7B990}"/>
                </a:ext>
              </a:extLst>
            </p:cNvPr>
            <p:cNvSpPr txBox="1"/>
            <p:nvPr/>
          </p:nvSpPr>
          <p:spPr>
            <a:xfrm>
              <a:off x="6664160" y="3216027"/>
              <a:ext cx="3979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’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BFFFBB10-4C88-4045-9EE1-6F5C130AE258}"/>
                </a:ext>
              </a:extLst>
            </p:cNvPr>
            <p:cNvSpPr txBox="1"/>
            <p:nvPr/>
          </p:nvSpPr>
          <p:spPr>
            <a:xfrm>
              <a:off x="5668230" y="1760745"/>
              <a:ext cx="113030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Lungo termine</a:t>
              </a:r>
            </a:p>
          </p:txBody>
        </p: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8396D429-578C-411E-A884-7189B5659FAF}"/>
                </a:ext>
              </a:extLst>
            </p:cNvPr>
            <p:cNvCxnSpPr/>
            <p:nvPr/>
          </p:nvCxnSpPr>
          <p:spPr>
            <a:xfrm>
              <a:off x="6367979" y="3074619"/>
              <a:ext cx="0" cy="602492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5EC3A22B-5F4B-40C1-A102-0ED2561C662C}"/>
                </a:ext>
              </a:extLst>
            </p:cNvPr>
            <p:cNvCxnSpPr/>
            <p:nvPr/>
          </p:nvCxnSpPr>
          <p:spPr>
            <a:xfrm>
              <a:off x="6956419" y="2742612"/>
              <a:ext cx="0" cy="916483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C89802BD-EC83-4E8B-BC71-AC76DBAC8C3E}"/>
                </a:ext>
              </a:extLst>
            </p:cNvPr>
            <p:cNvSpPr txBox="1"/>
            <p:nvPr/>
          </p:nvSpPr>
          <p:spPr>
            <a:xfrm>
              <a:off x="6687539" y="3684282"/>
              <a:ext cx="6773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Q’’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522848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iagram&#10;&#10;Description automatically generated">
            <a:extLst>
              <a:ext uri="{FF2B5EF4-FFF2-40B4-BE49-F238E27FC236}">
                <a16:creationId xmlns:a16="http://schemas.microsoft.com/office/drawing/2014/main" id="{984E5E1C-C15C-436D-B27B-148C7D4BCFE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4527" t="24267" r="11358" b="15363"/>
          <a:stretch/>
        </p:blipFill>
        <p:spPr bwMode="auto">
          <a:xfrm>
            <a:off x="-2385231" y="-634408"/>
            <a:ext cx="6478387" cy="387733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id="{941ADF8E-4BBD-4F5F-9813-A15E8A258CC9}"/>
              </a:ext>
            </a:extLst>
          </p:cNvPr>
          <p:cNvGrpSpPr/>
          <p:nvPr/>
        </p:nvGrpSpPr>
        <p:grpSpPr>
          <a:xfrm>
            <a:off x="0" y="2647506"/>
            <a:ext cx="11932891" cy="3150782"/>
            <a:chOff x="592262" y="2934585"/>
            <a:chExt cx="11932891" cy="3150782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8B26CFD-D23A-4E79-8947-7B054A057518}"/>
                </a:ext>
              </a:extLst>
            </p:cNvPr>
            <p:cNvSpPr/>
            <p:nvPr/>
          </p:nvSpPr>
          <p:spPr>
            <a:xfrm>
              <a:off x="592262" y="4074041"/>
              <a:ext cx="1435395" cy="87187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terazione fra la domanda e l’offerta di immobili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E3A5DC8-BC74-4CAB-B1DE-E512B1986647}"/>
                </a:ext>
              </a:extLst>
            </p:cNvPr>
            <p:cNvSpPr/>
            <p:nvPr/>
          </p:nvSpPr>
          <p:spPr>
            <a:xfrm>
              <a:off x="2201323" y="2934585"/>
              <a:ext cx="1435395" cy="87187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vestimenti in nuove costruzioni e ristrutturazioni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1CD4CA6-9EF1-4AD0-ABFC-B9EB7F0BD4BF}"/>
                </a:ext>
              </a:extLst>
            </p:cNvPr>
            <p:cNvSpPr/>
            <p:nvPr/>
          </p:nvSpPr>
          <p:spPr>
            <a:xfrm>
              <a:off x="2201323" y="5213497"/>
              <a:ext cx="1435395" cy="87187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vestimenti per l’acquisto di immobili già esistenti e terreni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CC8709D-1210-41FB-8F39-36E0BCEA14B2}"/>
                </a:ext>
              </a:extLst>
            </p:cNvPr>
            <p:cNvSpPr/>
            <p:nvPr/>
          </p:nvSpPr>
          <p:spPr>
            <a:xfrm>
              <a:off x="3817471" y="4329223"/>
              <a:ext cx="1102242" cy="359736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rezzi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83FBCBC-CDB3-4BE1-83A0-E8FA679B6DE0}"/>
                </a:ext>
              </a:extLst>
            </p:cNvPr>
            <p:cNvSpPr/>
            <p:nvPr/>
          </p:nvSpPr>
          <p:spPr>
            <a:xfrm>
              <a:off x="5405266" y="4329223"/>
              <a:ext cx="1102242" cy="359736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umero di immobili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F1A8FBE-C5B4-464F-AE23-4A12CC710DD8}"/>
                </a:ext>
              </a:extLst>
            </p:cNvPr>
            <p:cNvSpPr/>
            <p:nvPr/>
          </p:nvSpPr>
          <p:spPr>
            <a:xfrm>
              <a:off x="6996605" y="4329223"/>
              <a:ext cx="1102242" cy="359736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atrimonio immobiliare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7DDDA21-E016-4842-A59B-87A9EE290210}"/>
                </a:ext>
              </a:extLst>
            </p:cNvPr>
            <p:cNvSpPr/>
            <p:nvPr/>
          </p:nvSpPr>
          <p:spPr>
            <a:xfrm>
              <a:off x="8098847" y="2934585"/>
              <a:ext cx="1435395" cy="87187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IL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E2C0F6A-D639-417A-8323-68458EA32601}"/>
                </a:ext>
              </a:extLst>
            </p:cNvPr>
            <p:cNvSpPr/>
            <p:nvPr/>
          </p:nvSpPr>
          <p:spPr>
            <a:xfrm>
              <a:off x="8098846" y="5211727"/>
              <a:ext cx="1435395" cy="87187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ercati finanziari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9062FD7-E20B-44AA-AC8F-F6D08D205AFE}"/>
                </a:ext>
              </a:extLst>
            </p:cNvPr>
            <p:cNvSpPr/>
            <p:nvPr/>
          </p:nvSpPr>
          <p:spPr>
            <a:xfrm>
              <a:off x="9990677" y="2934585"/>
              <a:ext cx="1435395" cy="87187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etermina:</a:t>
              </a:r>
            </a:p>
            <a:p>
              <a:pPr marL="228600" indent="-228600" algn="ctr">
                <a:buFont typeface="+mj-lt"/>
                <a:buAutoNum type="arabicPeriod"/>
              </a:pPr>
              <a:r>
                <a:rPr lang="it-IT" sz="12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l reddito</a:t>
              </a:r>
            </a:p>
            <a:p>
              <a:pPr marL="228600" indent="-228600" algn="ctr">
                <a:buFont typeface="+mj-lt"/>
                <a:buAutoNum type="arabicPeriod"/>
              </a:pPr>
              <a:r>
                <a:rPr lang="it-IT" sz="12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 risparmi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0A5EBB0-A085-46D0-A5CE-19A7087D9A4E}"/>
                </a:ext>
              </a:extLst>
            </p:cNvPr>
            <p:cNvSpPr/>
            <p:nvPr/>
          </p:nvSpPr>
          <p:spPr>
            <a:xfrm>
              <a:off x="9990677" y="5211727"/>
              <a:ext cx="2534476" cy="87187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iceve i risparmi creati nell’economia reale che vengono usati per rifinanziare la stessa. Il processo determina i tassi d’interesse</a:t>
              </a:r>
            </a:p>
          </p:txBody>
        </p: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5AEF3095-4A00-43AB-8361-16636F9F8593}"/>
                </a:ext>
              </a:extLst>
            </p:cNvPr>
            <p:cNvCxnSpPr>
              <a:stCxn id="3" idx="0"/>
              <a:endCxn id="4" idx="1"/>
            </p:cNvCxnSpPr>
            <p:nvPr/>
          </p:nvCxnSpPr>
          <p:spPr>
            <a:xfrm flipV="1">
              <a:off x="1309960" y="3370520"/>
              <a:ext cx="891363" cy="70352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5C28BC90-2B60-48B6-87E2-944E634BA195}"/>
                </a:ext>
              </a:extLst>
            </p:cNvPr>
            <p:cNvCxnSpPr>
              <a:stCxn id="3" idx="2"/>
              <a:endCxn id="5" idx="1"/>
            </p:cNvCxnSpPr>
            <p:nvPr/>
          </p:nvCxnSpPr>
          <p:spPr>
            <a:xfrm>
              <a:off x="1309960" y="4945911"/>
              <a:ext cx="891363" cy="70352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20F98372-BEC2-4A63-9966-93AB31DD8662}"/>
                </a:ext>
              </a:extLst>
            </p:cNvPr>
            <p:cNvCxnSpPr>
              <a:stCxn id="3" idx="3"/>
              <a:endCxn id="6" idx="1"/>
            </p:cNvCxnSpPr>
            <p:nvPr/>
          </p:nvCxnSpPr>
          <p:spPr>
            <a:xfrm flipV="1">
              <a:off x="2027657" y="4509091"/>
              <a:ext cx="1789814" cy="885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99C490A0-1211-4D27-A82A-2812D6C52D78}"/>
                </a:ext>
              </a:extLst>
            </p:cNvPr>
            <p:cNvCxnSpPr>
              <a:stCxn id="4" idx="2"/>
              <a:endCxn id="6" idx="0"/>
            </p:cNvCxnSpPr>
            <p:nvPr/>
          </p:nvCxnSpPr>
          <p:spPr>
            <a:xfrm>
              <a:off x="2919021" y="3806455"/>
              <a:ext cx="1449571" cy="522768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F45AA507-D41C-40D6-B947-9A2B2FD00129}"/>
                </a:ext>
              </a:extLst>
            </p:cNvPr>
            <p:cNvCxnSpPr>
              <a:stCxn id="5" idx="0"/>
              <a:endCxn id="6" idx="2"/>
            </p:cNvCxnSpPr>
            <p:nvPr/>
          </p:nvCxnSpPr>
          <p:spPr>
            <a:xfrm flipV="1">
              <a:off x="2919021" y="4688959"/>
              <a:ext cx="1449571" cy="524538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0605C127-B8E2-4CE1-84B4-47DC1405BA70}"/>
                </a:ext>
              </a:extLst>
            </p:cNvPr>
            <p:cNvSpPr txBox="1"/>
            <p:nvPr/>
          </p:nvSpPr>
          <p:spPr>
            <a:xfrm>
              <a:off x="4953576" y="4329223"/>
              <a:ext cx="4079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dirty="0"/>
                <a:t>X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88A8CF9-BD78-4B0F-86CC-5AB91667A482}"/>
                </a:ext>
              </a:extLst>
            </p:cNvPr>
            <p:cNvSpPr txBox="1"/>
            <p:nvPr/>
          </p:nvSpPr>
          <p:spPr>
            <a:xfrm>
              <a:off x="6550805" y="4319627"/>
              <a:ext cx="4079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dirty="0"/>
                <a:t>=</a:t>
              </a:r>
            </a:p>
          </p:txBody>
        </p: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45A95851-69C1-4978-A71F-5F3F078A1771}"/>
                </a:ext>
              </a:extLst>
            </p:cNvPr>
            <p:cNvCxnSpPr>
              <a:stCxn id="4" idx="3"/>
              <a:endCxn id="9" idx="1"/>
            </p:cNvCxnSpPr>
            <p:nvPr/>
          </p:nvCxnSpPr>
          <p:spPr>
            <a:xfrm>
              <a:off x="3636718" y="3370520"/>
              <a:ext cx="4462129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770A4C36-6850-4CCF-971C-02E148E4D9CB}"/>
                </a:ext>
              </a:extLst>
            </p:cNvPr>
            <p:cNvCxnSpPr>
              <a:stCxn id="5" idx="3"/>
              <a:endCxn id="10" idx="1"/>
            </p:cNvCxnSpPr>
            <p:nvPr/>
          </p:nvCxnSpPr>
          <p:spPr>
            <a:xfrm flipV="1">
              <a:off x="3636718" y="5647662"/>
              <a:ext cx="4462128" cy="177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EE48FE24-BF8C-428D-AA6E-FBE077403886}"/>
                </a:ext>
              </a:extLst>
            </p:cNvPr>
            <p:cNvCxnSpPr>
              <a:stCxn id="8" idx="3"/>
              <a:endCxn id="10" idx="0"/>
            </p:cNvCxnSpPr>
            <p:nvPr/>
          </p:nvCxnSpPr>
          <p:spPr>
            <a:xfrm>
              <a:off x="8098847" y="4509091"/>
              <a:ext cx="717697" cy="70263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A5CF7603-F750-462D-B682-33799F71C8E6}"/>
                </a:ext>
              </a:extLst>
            </p:cNvPr>
            <p:cNvCxnSpPr>
              <a:stCxn id="8" idx="3"/>
              <a:endCxn id="9" idx="2"/>
            </p:cNvCxnSpPr>
            <p:nvPr/>
          </p:nvCxnSpPr>
          <p:spPr>
            <a:xfrm flipV="1">
              <a:off x="8098847" y="3806455"/>
              <a:ext cx="717698" cy="70263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CAE71FA5-7450-4E69-95F5-C463FD4B4CA6}"/>
                </a:ext>
              </a:extLst>
            </p:cNvPr>
            <p:cNvCxnSpPr>
              <a:stCxn id="9" idx="2"/>
              <a:endCxn id="10" idx="0"/>
            </p:cNvCxnSpPr>
            <p:nvPr/>
          </p:nvCxnSpPr>
          <p:spPr>
            <a:xfrm flipH="1">
              <a:off x="8816544" y="3806455"/>
              <a:ext cx="1" cy="140527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272220D9-DF64-4645-ACDB-1842D06292FF}"/>
                </a:ext>
              </a:extLst>
            </p:cNvPr>
            <p:cNvCxnSpPr>
              <a:stCxn id="9" idx="3"/>
              <a:endCxn id="11" idx="1"/>
            </p:cNvCxnSpPr>
            <p:nvPr/>
          </p:nvCxnSpPr>
          <p:spPr>
            <a:xfrm>
              <a:off x="9534242" y="3370520"/>
              <a:ext cx="456435" cy="0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6B987065-2B93-4664-B716-DFBCB71F0876}"/>
                </a:ext>
              </a:extLst>
            </p:cNvPr>
            <p:cNvCxnSpPr>
              <a:stCxn id="10" idx="3"/>
              <a:endCxn id="12" idx="1"/>
            </p:cNvCxnSpPr>
            <p:nvPr/>
          </p:nvCxnSpPr>
          <p:spPr>
            <a:xfrm>
              <a:off x="9534241" y="5647662"/>
              <a:ext cx="456436" cy="0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286950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2FA5626-9629-4E8A-A3D1-65BD7BD8E28A}"/>
              </a:ext>
            </a:extLst>
          </p:cNvPr>
          <p:cNvGrpSpPr>
            <a:grpSpLocks noChangeAspect="1"/>
          </p:cNvGrpSpPr>
          <p:nvPr/>
        </p:nvGrpSpPr>
        <p:grpSpPr>
          <a:xfrm>
            <a:off x="1830763" y="1488558"/>
            <a:ext cx="5966446" cy="1575391"/>
            <a:chOff x="592262" y="2934585"/>
            <a:chExt cx="11932891" cy="3150782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63581FF-6CEB-4448-A910-403DDA22160B}"/>
                </a:ext>
              </a:extLst>
            </p:cNvPr>
            <p:cNvSpPr/>
            <p:nvPr/>
          </p:nvSpPr>
          <p:spPr>
            <a:xfrm>
              <a:off x="592262" y="4074041"/>
              <a:ext cx="1435395" cy="87187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5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terazione fra la domanda e l’offerta di immobili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1C6749C-7279-46D8-8E05-ABFB04D5C170}"/>
                </a:ext>
              </a:extLst>
            </p:cNvPr>
            <p:cNvSpPr/>
            <p:nvPr/>
          </p:nvSpPr>
          <p:spPr>
            <a:xfrm>
              <a:off x="2201323" y="2934585"/>
              <a:ext cx="1435395" cy="87187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5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vestimenti in nuove costruzioni e ristrutturazioni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515B05D-760F-4E99-BED3-AC0AEB87551A}"/>
                </a:ext>
              </a:extLst>
            </p:cNvPr>
            <p:cNvSpPr/>
            <p:nvPr/>
          </p:nvSpPr>
          <p:spPr>
            <a:xfrm>
              <a:off x="2201323" y="5213497"/>
              <a:ext cx="1435395" cy="87187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5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vestimenti per l’acquisto di immobili già esistenti e terreni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1380238-9C19-4142-B2C6-85FACE78ABE2}"/>
                </a:ext>
              </a:extLst>
            </p:cNvPr>
            <p:cNvSpPr/>
            <p:nvPr/>
          </p:nvSpPr>
          <p:spPr>
            <a:xfrm>
              <a:off x="3817471" y="4329223"/>
              <a:ext cx="1102242" cy="359736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5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rezzi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05BC3A9-7EA7-4038-9526-046A63A6325E}"/>
                </a:ext>
              </a:extLst>
            </p:cNvPr>
            <p:cNvSpPr/>
            <p:nvPr/>
          </p:nvSpPr>
          <p:spPr>
            <a:xfrm>
              <a:off x="5405266" y="4329223"/>
              <a:ext cx="1102242" cy="359736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5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umero di immobili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6E9EB9D-440A-44A8-B430-AD68F45914EF}"/>
                </a:ext>
              </a:extLst>
            </p:cNvPr>
            <p:cNvSpPr/>
            <p:nvPr/>
          </p:nvSpPr>
          <p:spPr>
            <a:xfrm>
              <a:off x="6996605" y="4329223"/>
              <a:ext cx="1102242" cy="359736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5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atrimonio immobiliare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5100700-F84D-45C3-820D-0BB77AD559CC}"/>
                </a:ext>
              </a:extLst>
            </p:cNvPr>
            <p:cNvSpPr/>
            <p:nvPr/>
          </p:nvSpPr>
          <p:spPr>
            <a:xfrm>
              <a:off x="8098847" y="2934585"/>
              <a:ext cx="1435395" cy="87187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5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IL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E1EB4A6-CD4D-41FE-99AB-43BBEB45CB84}"/>
                </a:ext>
              </a:extLst>
            </p:cNvPr>
            <p:cNvSpPr/>
            <p:nvPr/>
          </p:nvSpPr>
          <p:spPr>
            <a:xfrm>
              <a:off x="8098846" y="5211727"/>
              <a:ext cx="1435395" cy="87187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5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ercati finanziari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EF53A99-F5D5-4656-8DA0-48D2AC0FEFCD}"/>
                </a:ext>
              </a:extLst>
            </p:cNvPr>
            <p:cNvSpPr/>
            <p:nvPr/>
          </p:nvSpPr>
          <p:spPr>
            <a:xfrm>
              <a:off x="9990677" y="2934585"/>
              <a:ext cx="1435395" cy="87187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5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etermina:</a:t>
              </a:r>
            </a:p>
            <a:p>
              <a:pPr marL="228600" indent="-228600" algn="ctr">
                <a:buFont typeface="+mj-lt"/>
                <a:buAutoNum type="arabicPeriod"/>
              </a:pPr>
              <a:r>
                <a:rPr lang="it-IT" sz="5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l reddito</a:t>
              </a:r>
            </a:p>
            <a:p>
              <a:pPr marL="228600" indent="-228600" algn="ctr">
                <a:buFont typeface="+mj-lt"/>
                <a:buAutoNum type="arabicPeriod"/>
              </a:pPr>
              <a:r>
                <a:rPr lang="it-IT" sz="5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 risparmi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93F3E6A-7DF0-4D80-8421-FF01CA40AA8D}"/>
                </a:ext>
              </a:extLst>
            </p:cNvPr>
            <p:cNvSpPr/>
            <p:nvPr/>
          </p:nvSpPr>
          <p:spPr>
            <a:xfrm>
              <a:off x="9990677" y="5211727"/>
              <a:ext cx="2534476" cy="87187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5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iceve i risparmi creati nell’economia reale che vengono usati per rifinanziare la stessa. Il processo determina i tassi d’interesse</a:t>
              </a:r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34B3891B-0E3F-4603-873F-69313C899665}"/>
                </a:ext>
              </a:extLst>
            </p:cNvPr>
            <p:cNvCxnSpPr>
              <a:stCxn id="3" idx="0"/>
              <a:endCxn id="4" idx="1"/>
            </p:cNvCxnSpPr>
            <p:nvPr/>
          </p:nvCxnSpPr>
          <p:spPr>
            <a:xfrm flipV="1">
              <a:off x="1309960" y="3370520"/>
              <a:ext cx="891363" cy="70352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0FF6BA5F-4B94-4AF8-AF86-2ED220F7680B}"/>
                </a:ext>
              </a:extLst>
            </p:cNvPr>
            <p:cNvCxnSpPr>
              <a:stCxn id="3" idx="2"/>
              <a:endCxn id="5" idx="1"/>
            </p:cNvCxnSpPr>
            <p:nvPr/>
          </p:nvCxnSpPr>
          <p:spPr>
            <a:xfrm>
              <a:off x="1309960" y="4945911"/>
              <a:ext cx="891363" cy="70352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1F60CC2D-819B-4508-8C22-59BE4126F11D}"/>
                </a:ext>
              </a:extLst>
            </p:cNvPr>
            <p:cNvCxnSpPr>
              <a:stCxn id="3" idx="3"/>
              <a:endCxn id="6" idx="1"/>
            </p:cNvCxnSpPr>
            <p:nvPr/>
          </p:nvCxnSpPr>
          <p:spPr>
            <a:xfrm flipV="1">
              <a:off x="2027657" y="4509091"/>
              <a:ext cx="1789814" cy="885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4C8BA7F2-667B-41A5-A8B5-D0A3A0D75FD9}"/>
                </a:ext>
              </a:extLst>
            </p:cNvPr>
            <p:cNvCxnSpPr>
              <a:stCxn id="4" idx="2"/>
              <a:endCxn id="6" idx="0"/>
            </p:cNvCxnSpPr>
            <p:nvPr/>
          </p:nvCxnSpPr>
          <p:spPr>
            <a:xfrm>
              <a:off x="2919021" y="3806455"/>
              <a:ext cx="1449571" cy="522768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F4427D78-C3E2-4EF2-81DC-708DF3B90DCD}"/>
                </a:ext>
              </a:extLst>
            </p:cNvPr>
            <p:cNvCxnSpPr>
              <a:stCxn id="5" idx="0"/>
              <a:endCxn id="6" idx="2"/>
            </p:cNvCxnSpPr>
            <p:nvPr/>
          </p:nvCxnSpPr>
          <p:spPr>
            <a:xfrm flipV="1">
              <a:off x="2919021" y="4688959"/>
              <a:ext cx="1449571" cy="524538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3BF4D66-596B-4532-89D6-04971C39C982}"/>
                </a:ext>
              </a:extLst>
            </p:cNvPr>
            <p:cNvSpPr txBox="1"/>
            <p:nvPr/>
          </p:nvSpPr>
          <p:spPr>
            <a:xfrm>
              <a:off x="4953576" y="4329223"/>
              <a:ext cx="407964" cy="1692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5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X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4AE4738-D44F-487A-9013-7AF966E08EDF}"/>
                </a:ext>
              </a:extLst>
            </p:cNvPr>
            <p:cNvSpPr txBox="1"/>
            <p:nvPr/>
          </p:nvSpPr>
          <p:spPr>
            <a:xfrm>
              <a:off x="6550805" y="4319627"/>
              <a:ext cx="407964" cy="1692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5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=</a:t>
              </a:r>
            </a:p>
          </p:txBody>
        </p: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999DD9E3-0E1E-4F91-BFE3-783E1E154A9D}"/>
                </a:ext>
              </a:extLst>
            </p:cNvPr>
            <p:cNvCxnSpPr>
              <a:stCxn id="4" idx="3"/>
              <a:endCxn id="9" idx="1"/>
            </p:cNvCxnSpPr>
            <p:nvPr/>
          </p:nvCxnSpPr>
          <p:spPr>
            <a:xfrm>
              <a:off x="3636718" y="3370520"/>
              <a:ext cx="4462129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DFC2A16D-1627-4FF3-B7CE-B3B388DFF311}"/>
                </a:ext>
              </a:extLst>
            </p:cNvPr>
            <p:cNvCxnSpPr>
              <a:stCxn id="5" idx="3"/>
              <a:endCxn id="10" idx="1"/>
            </p:cNvCxnSpPr>
            <p:nvPr/>
          </p:nvCxnSpPr>
          <p:spPr>
            <a:xfrm flipV="1">
              <a:off x="3636718" y="5647662"/>
              <a:ext cx="4462128" cy="177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9D5B905A-D68A-45E7-B4D9-4F3A7A7E92CF}"/>
                </a:ext>
              </a:extLst>
            </p:cNvPr>
            <p:cNvCxnSpPr>
              <a:stCxn id="8" idx="3"/>
              <a:endCxn id="10" idx="0"/>
            </p:cNvCxnSpPr>
            <p:nvPr/>
          </p:nvCxnSpPr>
          <p:spPr>
            <a:xfrm>
              <a:off x="8098847" y="4509091"/>
              <a:ext cx="717697" cy="70263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B61CDD22-664E-4A00-B1A9-B4B4DB4DF24E}"/>
                </a:ext>
              </a:extLst>
            </p:cNvPr>
            <p:cNvCxnSpPr>
              <a:stCxn id="8" idx="3"/>
              <a:endCxn id="9" idx="2"/>
            </p:cNvCxnSpPr>
            <p:nvPr/>
          </p:nvCxnSpPr>
          <p:spPr>
            <a:xfrm flipV="1">
              <a:off x="8098847" y="3806455"/>
              <a:ext cx="717698" cy="70263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B515A6FC-E474-4D1A-9D62-E69C528ECE0F}"/>
                </a:ext>
              </a:extLst>
            </p:cNvPr>
            <p:cNvCxnSpPr>
              <a:stCxn id="9" idx="2"/>
              <a:endCxn id="10" idx="0"/>
            </p:cNvCxnSpPr>
            <p:nvPr/>
          </p:nvCxnSpPr>
          <p:spPr>
            <a:xfrm flipH="1">
              <a:off x="8816544" y="3806455"/>
              <a:ext cx="1" cy="140527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98F65675-BC3B-49E7-892C-5B4467352E60}"/>
                </a:ext>
              </a:extLst>
            </p:cNvPr>
            <p:cNvCxnSpPr>
              <a:stCxn id="9" idx="3"/>
              <a:endCxn id="11" idx="1"/>
            </p:cNvCxnSpPr>
            <p:nvPr/>
          </p:nvCxnSpPr>
          <p:spPr>
            <a:xfrm>
              <a:off x="9534242" y="3370520"/>
              <a:ext cx="456435" cy="0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A19C3BD9-27DF-4690-A59B-95BB1735840D}"/>
                </a:ext>
              </a:extLst>
            </p:cNvPr>
            <p:cNvCxnSpPr>
              <a:stCxn id="10" idx="3"/>
              <a:endCxn id="12" idx="1"/>
            </p:cNvCxnSpPr>
            <p:nvPr/>
          </p:nvCxnSpPr>
          <p:spPr>
            <a:xfrm>
              <a:off x="9534241" y="5647662"/>
              <a:ext cx="456436" cy="0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846089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chart&#10;&#10;Description automatically generated">
            <a:extLst>
              <a:ext uri="{FF2B5EF4-FFF2-40B4-BE49-F238E27FC236}">
                <a16:creationId xmlns:a16="http://schemas.microsoft.com/office/drawing/2014/main" id="{721DF05C-E81D-479A-93BD-2FD3C801C8B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8422" t="46315" r="21081" b="21724"/>
          <a:stretch/>
        </p:blipFill>
        <p:spPr bwMode="auto">
          <a:xfrm>
            <a:off x="734280" y="507108"/>
            <a:ext cx="3881167" cy="263558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55" name="Group 54">
            <a:extLst>
              <a:ext uri="{FF2B5EF4-FFF2-40B4-BE49-F238E27FC236}">
                <a16:creationId xmlns:a16="http://schemas.microsoft.com/office/drawing/2014/main" id="{7D97BC6F-0E1E-41BA-9E40-635948C27304}"/>
              </a:ext>
            </a:extLst>
          </p:cNvPr>
          <p:cNvGrpSpPr/>
          <p:nvPr/>
        </p:nvGrpSpPr>
        <p:grpSpPr>
          <a:xfrm>
            <a:off x="5698790" y="1119635"/>
            <a:ext cx="2383362" cy="2052702"/>
            <a:chOff x="5698790" y="1119635"/>
            <a:chExt cx="2383362" cy="2052702"/>
          </a:xfrm>
        </p:grpSpPr>
        <p:cxnSp>
          <p:nvCxnSpPr>
            <p:cNvPr id="4" name="Straight Arrow Connector 3">
              <a:extLst>
                <a:ext uri="{FF2B5EF4-FFF2-40B4-BE49-F238E27FC236}">
                  <a16:creationId xmlns:a16="http://schemas.microsoft.com/office/drawing/2014/main" id="{4DFECCD4-04F8-45A0-A75B-DD069E3D65A0}"/>
                </a:ext>
              </a:extLst>
            </p:cNvPr>
            <p:cNvCxnSpPr/>
            <p:nvPr/>
          </p:nvCxnSpPr>
          <p:spPr>
            <a:xfrm flipV="1">
              <a:off x="6096720" y="1386429"/>
              <a:ext cx="0" cy="143933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Arrow Connector 4">
              <a:extLst>
                <a:ext uri="{FF2B5EF4-FFF2-40B4-BE49-F238E27FC236}">
                  <a16:creationId xmlns:a16="http://schemas.microsoft.com/office/drawing/2014/main" id="{286C6610-36BD-4B4F-8C4D-BA3387BE49DF}"/>
                </a:ext>
              </a:extLst>
            </p:cNvPr>
            <p:cNvCxnSpPr/>
            <p:nvPr/>
          </p:nvCxnSpPr>
          <p:spPr>
            <a:xfrm>
              <a:off x="6096720" y="2825763"/>
              <a:ext cx="1600201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E8C6CED5-7EC2-48BF-BB2C-25E7BEDEA28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70312" y="1709150"/>
              <a:ext cx="1392332" cy="1076681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DEC643A-A45C-462C-8FF4-21E081000943}"/>
                </a:ext>
              </a:extLst>
            </p:cNvPr>
            <p:cNvSpPr txBox="1"/>
            <p:nvPr/>
          </p:nvSpPr>
          <p:spPr>
            <a:xfrm>
              <a:off x="5706543" y="1306014"/>
              <a:ext cx="3979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C5C0222-8E29-467D-815E-F4A770765306}"/>
                </a:ext>
              </a:extLst>
            </p:cNvPr>
            <p:cNvSpPr txBox="1"/>
            <p:nvPr/>
          </p:nvSpPr>
          <p:spPr>
            <a:xfrm>
              <a:off x="7684222" y="2894905"/>
              <a:ext cx="3979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Q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02406C69-FB5C-4302-BB55-1AF53411C566}"/>
                    </a:ext>
                  </a:extLst>
                </p:cNvPr>
                <p:cNvSpPr txBox="1"/>
                <p:nvPr/>
              </p:nvSpPr>
              <p:spPr>
                <a:xfrm>
                  <a:off x="6551313" y="2895338"/>
                  <a:ext cx="394556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it-IT" sz="1200" i="1" dirty="0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it-IT" sz="1200" b="0" i="1" dirty="0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𝑄</m:t>
                            </m:r>
                          </m:e>
                          <m:sub>
                            <m:r>
                              <a:rPr lang="it-IT" sz="1200" b="0" i="1" dirty="0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𝑒</m:t>
                            </m:r>
                          </m:sub>
                        </m:sSub>
                      </m:oMath>
                    </m:oMathPara>
                  </a14:m>
                  <a:endParaRPr lang="it-IT" sz="12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02406C69-FB5C-4302-BB55-1AF53411C56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51313" y="2895338"/>
                  <a:ext cx="394556" cy="276999"/>
                </a:xfrm>
                <a:prstGeom prst="rect">
                  <a:avLst/>
                </a:prstGeom>
                <a:blipFill>
                  <a:blip r:embed="rId3"/>
                  <a:stretch>
                    <a:fillRect b="-2222"/>
                  </a:stretch>
                </a:blipFill>
              </p:spPr>
              <p:txBody>
                <a:bodyPr/>
                <a:lstStyle/>
                <a:p>
                  <a:r>
                    <a:rPr lang="it-IT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E76DB264-CF49-4D60-B6F0-75E75DC490A9}"/>
                    </a:ext>
                  </a:extLst>
                </p:cNvPr>
                <p:cNvSpPr txBox="1"/>
                <p:nvPr/>
              </p:nvSpPr>
              <p:spPr>
                <a:xfrm>
                  <a:off x="5698790" y="2301190"/>
                  <a:ext cx="397930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it-IT" sz="120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it-IT" sz="12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it-IT" sz="12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𝑒</m:t>
                            </m:r>
                          </m:sub>
                        </m:sSub>
                      </m:oMath>
                    </m:oMathPara>
                  </a14:m>
                  <a:endParaRPr lang="it-IT" sz="12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E76DB264-CF49-4D60-B6F0-75E75DC490A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698790" y="2301190"/>
                  <a:ext cx="397930" cy="276999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it-IT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TextBox 10">
                  <a:extLst>
                    <a:ext uri="{FF2B5EF4-FFF2-40B4-BE49-F238E27FC236}">
                      <a16:creationId xmlns:a16="http://schemas.microsoft.com/office/drawing/2014/main" id="{116DA784-B05F-474C-BF47-22B9E785E283}"/>
                    </a:ext>
                  </a:extLst>
                </p:cNvPr>
                <p:cNvSpPr txBox="1"/>
                <p:nvPr/>
              </p:nvSpPr>
              <p:spPr>
                <a:xfrm>
                  <a:off x="5706543" y="1995468"/>
                  <a:ext cx="397930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it-IT" sz="120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it-IT" sz="12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it-IT" sz="12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𝑒</m:t>
                            </m:r>
                          </m:sub>
                        </m:sSub>
                        <m:r>
                          <a:rPr lang="it-IT" sz="1200" b="0" i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′</m:t>
                        </m:r>
                      </m:oMath>
                    </m:oMathPara>
                  </a14:m>
                  <a:endParaRPr lang="it-IT" sz="12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11" name="TextBox 10">
                  <a:extLst>
                    <a:ext uri="{FF2B5EF4-FFF2-40B4-BE49-F238E27FC236}">
                      <a16:creationId xmlns:a16="http://schemas.microsoft.com/office/drawing/2014/main" id="{116DA784-B05F-474C-BF47-22B9E785E28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706543" y="1995468"/>
                  <a:ext cx="397930" cy="276999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it-IT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483D584-A128-4D6F-8134-F28186E0998D}"/>
                </a:ext>
              </a:extLst>
            </p:cNvPr>
            <p:cNvSpPr txBox="1"/>
            <p:nvPr/>
          </p:nvSpPr>
          <p:spPr>
            <a:xfrm>
              <a:off x="7696921" y="1350070"/>
              <a:ext cx="3725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</a:t>
              </a: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B562DB54-B1AF-4258-ACAA-85833D076F0B}"/>
                </a:ext>
              </a:extLst>
            </p:cNvPr>
            <p:cNvCxnSpPr>
              <a:cxnSpLocks/>
            </p:cNvCxnSpPr>
            <p:nvPr/>
          </p:nvCxnSpPr>
          <p:spPr>
            <a:xfrm>
              <a:off x="6322009" y="1975168"/>
              <a:ext cx="703900" cy="821871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" name="TextBox 21">
                  <a:extLst>
                    <a:ext uri="{FF2B5EF4-FFF2-40B4-BE49-F238E27FC236}">
                      <a16:creationId xmlns:a16="http://schemas.microsoft.com/office/drawing/2014/main" id="{758A5B7F-A7ED-4DC0-9510-7699AE6D31C8}"/>
                    </a:ext>
                  </a:extLst>
                </p:cNvPr>
                <p:cNvSpPr txBox="1"/>
                <p:nvPr/>
              </p:nvSpPr>
              <p:spPr>
                <a:xfrm>
                  <a:off x="6837663" y="2894905"/>
                  <a:ext cx="677333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it-IT" sz="120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it-IT" sz="12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𝑄</m:t>
                            </m:r>
                          </m:e>
                          <m:sub>
                            <m:r>
                              <a:rPr lang="it-IT" sz="12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𝑒</m:t>
                            </m:r>
                          </m:sub>
                        </m:sSub>
                        <m:r>
                          <a:rPr lang="it-IT" sz="1200" b="0" i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′</m:t>
                        </m:r>
                      </m:oMath>
                    </m:oMathPara>
                  </a14:m>
                  <a:endParaRPr lang="it-IT" sz="12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22" name="TextBox 21">
                  <a:extLst>
                    <a:ext uri="{FF2B5EF4-FFF2-40B4-BE49-F238E27FC236}">
                      <a16:creationId xmlns:a16="http://schemas.microsoft.com/office/drawing/2014/main" id="{758A5B7F-A7ED-4DC0-9510-7699AE6D31C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837663" y="2894905"/>
                  <a:ext cx="677333" cy="276999"/>
                </a:xfrm>
                <a:prstGeom prst="rect">
                  <a:avLst/>
                </a:prstGeom>
                <a:blipFill>
                  <a:blip r:embed="rId6"/>
                  <a:stretch>
                    <a:fillRect b="-2222"/>
                  </a:stretch>
                </a:blipFill>
              </p:spPr>
              <p:txBody>
                <a:bodyPr/>
                <a:lstStyle/>
                <a:p>
                  <a:r>
                    <a:rPr lang="it-IT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045AE2F-58AF-4BEE-BECD-EF213F8A4D4F}"/>
                </a:ext>
              </a:extLst>
            </p:cNvPr>
            <p:cNvCxnSpPr>
              <a:cxnSpLocks/>
            </p:cNvCxnSpPr>
            <p:nvPr/>
          </p:nvCxnSpPr>
          <p:spPr>
            <a:xfrm>
              <a:off x="6445028" y="1373782"/>
              <a:ext cx="1179535" cy="1292326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D92BCEE-DB48-442A-8DAF-53BE24873ED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96000" y="2477729"/>
              <a:ext cx="69805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E756FD6D-D997-43FE-9F9A-5AAFE53C5B2E}"/>
                </a:ext>
              </a:extLst>
            </p:cNvPr>
            <p:cNvCxnSpPr/>
            <p:nvPr/>
          </p:nvCxnSpPr>
          <p:spPr>
            <a:xfrm flipV="1">
              <a:off x="6748591" y="2506453"/>
              <a:ext cx="0" cy="31931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FDDB0A38-6D4E-4E51-8026-3BA488D7B09C}"/>
                </a:ext>
              </a:extLst>
            </p:cNvPr>
            <p:cNvCxnSpPr/>
            <p:nvPr/>
          </p:nvCxnSpPr>
          <p:spPr>
            <a:xfrm>
              <a:off x="6794057" y="2477729"/>
              <a:ext cx="646504" cy="0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65B978E1-8AF7-440F-8A60-3D173A70FAB4}"/>
                </a:ext>
              </a:extLst>
            </p:cNvPr>
            <p:cNvCxnSpPr/>
            <p:nvPr/>
          </p:nvCxnSpPr>
          <p:spPr>
            <a:xfrm>
              <a:off x="7440561" y="2477729"/>
              <a:ext cx="0" cy="348034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086F7A5-0BB4-4EA1-8D76-89E20321CACA}"/>
                </a:ext>
              </a:extLst>
            </p:cNvPr>
            <p:cNvCxnSpPr>
              <a:cxnSpLocks/>
            </p:cNvCxnSpPr>
            <p:nvPr/>
          </p:nvCxnSpPr>
          <p:spPr>
            <a:xfrm>
              <a:off x="7176330" y="2144156"/>
              <a:ext cx="0" cy="68160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5D5215B0-7877-49A7-8DB7-E4E67C6FDE38}"/>
                </a:ext>
              </a:extLst>
            </p:cNvPr>
            <p:cNvCxnSpPr/>
            <p:nvPr/>
          </p:nvCxnSpPr>
          <p:spPr>
            <a:xfrm flipH="1">
              <a:off x="6104473" y="2144156"/>
              <a:ext cx="107185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41ED6A00-0CDF-4C67-92B2-37089262EA0C}"/>
                </a:ext>
              </a:extLst>
            </p:cNvPr>
            <p:cNvCxnSpPr>
              <a:cxnSpLocks/>
            </p:cNvCxnSpPr>
            <p:nvPr/>
          </p:nvCxnSpPr>
          <p:spPr>
            <a:xfrm>
              <a:off x="6748591" y="1709150"/>
              <a:ext cx="0" cy="775809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1D3CA520-A38B-4A9A-B73F-3D829859CD72}"/>
                </a:ext>
              </a:extLst>
            </p:cNvPr>
            <p:cNvCxnSpPr/>
            <p:nvPr/>
          </p:nvCxnSpPr>
          <p:spPr>
            <a:xfrm flipH="1">
              <a:off x="6096000" y="1712089"/>
              <a:ext cx="644118" cy="0"/>
            </a:xfrm>
            <a:prstGeom prst="line">
              <a:avLst/>
            </a:prstGeom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95576F05-93A3-46D1-AA92-6CF5D1C2B8BA}"/>
                </a:ext>
              </a:extLst>
            </p:cNvPr>
            <p:cNvSpPr txBox="1"/>
            <p:nvPr/>
          </p:nvSpPr>
          <p:spPr>
            <a:xfrm>
              <a:off x="6700372" y="1455317"/>
              <a:ext cx="43767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MU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F8611143-94A2-4973-AC5F-53366CCE303E}"/>
                    </a:ext>
                  </a:extLst>
                </p:cNvPr>
                <p:cNvSpPr txBox="1"/>
                <p:nvPr/>
              </p:nvSpPr>
              <p:spPr>
                <a:xfrm>
                  <a:off x="6207895" y="1119635"/>
                  <a:ext cx="677333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it-IT" sz="120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𝐷</m:t>
                        </m:r>
                        <m:r>
                          <a:rPr lang="it-IT" sz="12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′</m:t>
                        </m:r>
                      </m:oMath>
                    </m:oMathPara>
                  </a14:m>
                  <a:endParaRPr lang="it-IT" sz="12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F8611143-94A2-4973-AC5F-53366CCE303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207895" y="1119635"/>
                  <a:ext cx="677333" cy="276999"/>
                </a:xfrm>
                <a:prstGeom prst="rect">
                  <a:avLst/>
                </a:prstGeom>
                <a:blipFill>
                  <a:blip r:embed="rId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it-IT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3FAF1877-A437-49CB-A848-78B8E0CB7604}"/>
                    </a:ext>
                  </a:extLst>
                </p:cNvPr>
                <p:cNvSpPr txBox="1"/>
                <p:nvPr/>
              </p:nvSpPr>
              <p:spPr>
                <a:xfrm>
                  <a:off x="6116724" y="1785062"/>
                  <a:ext cx="677333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it-IT" sz="120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𝐷</m:t>
                        </m:r>
                      </m:oMath>
                    </m:oMathPara>
                  </a14:m>
                  <a:endParaRPr lang="it-IT" sz="12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3FAF1877-A437-49CB-A848-78B8E0CB760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116724" y="1785062"/>
                  <a:ext cx="677333" cy="276999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it-IT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36871601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3C947A9-D4DF-49BB-9737-E800C6282B98}"/>
              </a:ext>
            </a:extLst>
          </p:cNvPr>
          <p:cNvGrpSpPr/>
          <p:nvPr/>
        </p:nvGrpSpPr>
        <p:grpSpPr>
          <a:xfrm>
            <a:off x="1235243" y="545432"/>
            <a:ext cx="3785936" cy="2470485"/>
            <a:chOff x="1235242" y="545432"/>
            <a:chExt cx="8045115" cy="5193632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D5D94944-495E-4165-A1C1-489ACBED3A00}"/>
                </a:ext>
              </a:extLst>
            </p:cNvPr>
            <p:cNvSpPr/>
            <p:nvPr/>
          </p:nvSpPr>
          <p:spPr>
            <a:xfrm>
              <a:off x="1828800" y="545432"/>
              <a:ext cx="6849979" cy="4684294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0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7EE59CD5-D09C-464B-9554-D24B2A986413}"/>
                </a:ext>
              </a:extLst>
            </p:cNvPr>
            <p:cNvSpPr/>
            <p:nvPr/>
          </p:nvSpPr>
          <p:spPr>
            <a:xfrm>
              <a:off x="1812758" y="1379621"/>
              <a:ext cx="6882063" cy="3866147"/>
            </a:xfrm>
            <a:custGeom>
              <a:avLst/>
              <a:gdLst>
                <a:gd name="connsiteX0" fmla="*/ 0 w 6882063"/>
                <a:gd name="connsiteY0" fmla="*/ 3866147 h 3866147"/>
                <a:gd name="connsiteX1" fmla="*/ 2679031 w 6882063"/>
                <a:gd name="connsiteY1" fmla="*/ 1090863 h 3866147"/>
                <a:gd name="connsiteX2" fmla="*/ 6882063 w 6882063"/>
                <a:gd name="connsiteY2" fmla="*/ 0 h 3866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82063" h="3866147">
                  <a:moveTo>
                    <a:pt x="0" y="3866147"/>
                  </a:moveTo>
                  <a:cubicBezTo>
                    <a:pt x="766010" y="2800684"/>
                    <a:pt x="1532021" y="1735221"/>
                    <a:pt x="2679031" y="1090863"/>
                  </a:cubicBezTo>
                  <a:cubicBezTo>
                    <a:pt x="3826041" y="446505"/>
                    <a:pt x="5354052" y="223252"/>
                    <a:pt x="6882063" y="0"/>
                  </a:cubicBezTo>
                </a:path>
              </a:pathLst>
            </a:custGeom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sz="10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808B458-A10B-451B-95C5-D9A44BEE0D99}"/>
                </a:ext>
              </a:extLst>
            </p:cNvPr>
            <p:cNvSpPr/>
            <p:nvPr/>
          </p:nvSpPr>
          <p:spPr>
            <a:xfrm>
              <a:off x="1860884" y="2810349"/>
              <a:ext cx="6817895" cy="2435419"/>
            </a:xfrm>
            <a:custGeom>
              <a:avLst/>
              <a:gdLst>
                <a:gd name="connsiteX0" fmla="*/ 0 w 6817895"/>
                <a:gd name="connsiteY0" fmla="*/ 2435419 h 2435419"/>
                <a:gd name="connsiteX1" fmla="*/ 1187116 w 6817895"/>
                <a:gd name="connsiteY1" fmla="*/ 45146 h 2435419"/>
                <a:gd name="connsiteX2" fmla="*/ 3834063 w 6817895"/>
                <a:gd name="connsiteY2" fmla="*/ 911419 h 2435419"/>
                <a:gd name="connsiteX3" fmla="*/ 6817895 w 6817895"/>
                <a:gd name="connsiteY3" fmla="*/ 1424767 h 2435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7895" h="2435419">
                  <a:moveTo>
                    <a:pt x="0" y="2435419"/>
                  </a:moveTo>
                  <a:cubicBezTo>
                    <a:pt x="274053" y="1367282"/>
                    <a:pt x="548106" y="299146"/>
                    <a:pt x="1187116" y="45146"/>
                  </a:cubicBezTo>
                  <a:cubicBezTo>
                    <a:pt x="1826126" y="-208854"/>
                    <a:pt x="2895600" y="681482"/>
                    <a:pt x="3834063" y="911419"/>
                  </a:cubicBezTo>
                  <a:cubicBezTo>
                    <a:pt x="4772526" y="1141356"/>
                    <a:pt x="5795210" y="1283061"/>
                    <a:pt x="6817895" y="1424767"/>
                  </a:cubicBezTo>
                </a:path>
              </a:pathLst>
            </a:cu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sz="10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AB02B22-E055-436D-BF44-2A8EFE44F63F}"/>
                </a:ext>
              </a:extLst>
            </p:cNvPr>
            <p:cNvSpPr/>
            <p:nvPr/>
          </p:nvSpPr>
          <p:spPr>
            <a:xfrm>
              <a:off x="1812758" y="3015916"/>
              <a:ext cx="6866021" cy="1684421"/>
            </a:xfrm>
            <a:custGeom>
              <a:avLst/>
              <a:gdLst>
                <a:gd name="connsiteX0" fmla="*/ 0 w 6866021"/>
                <a:gd name="connsiteY0" fmla="*/ 0 h 1684421"/>
                <a:gd name="connsiteX1" fmla="*/ 2967789 w 6866021"/>
                <a:gd name="connsiteY1" fmla="*/ 1235242 h 1684421"/>
                <a:gd name="connsiteX2" fmla="*/ 6866021 w 6866021"/>
                <a:gd name="connsiteY2" fmla="*/ 1684421 h 1684421"/>
                <a:gd name="connsiteX3" fmla="*/ 6866021 w 6866021"/>
                <a:gd name="connsiteY3" fmla="*/ 1684421 h 1684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66021" h="1684421">
                  <a:moveTo>
                    <a:pt x="0" y="0"/>
                  </a:moveTo>
                  <a:cubicBezTo>
                    <a:pt x="911726" y="477252"/>
                    <a:pt x="1823452" y="954505"/>
                    <a:pt x="2967789" y="1235242"/>
                  </a:cubicBezTo>
                  <a:cubicBezTo>
                    <a:pt x="4112126" y="1515979"/>
                    <a:pt x="6866021" y="1684421"/>
                    <a:pt x="6866021" y="1684421"/>
                  </a:cubicBezTo>
                  <a:lnTo>
                    <a:pt x="6866021" y="1684421"/>
                  </a:lnTo>
                </a:path>
              </a:pathLst>
            </a:cu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sz="10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2484C46-F70A-493C-8758-2A4D607D08BD}"/>
                </a:ext>
              </a:extLst>
            </p:cNvPr>
            <p:cNvSpPr/>
            <p:nvPr/>
          </p:nvSpPr>
          <p:spPr>
            <a:xfrm>
              <a:off x="1235242" y="5435294"/>
              <a:ext cx="2386261" cy="3037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0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ristallo perfetto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707BA65-1AB1-4D03-B20B-C68B8B1BAFDA}"/>
                </a:ext>
              </a:extLst>
            </p:cNvPr>
            <p:cNvSpPr/>
            <p:nvPr/>
          </p:nvSpPr>
          <p:spPr>
            <a:xfrm>
              <a:off x="7387389" y="5273840"/>
              <a:ext cx="1892968" cy="4652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000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Gas ideale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B06D9A9D-778B-4500-A08F-0250A51B195E}"/>
                    </a:ext>
                  </a:extLst>
                </p:cNvPr>
                <p:cNvSpPr/>
                <p:nvPr/>
              </p:nvSpPr>
              <p:spPr>
                <a:xfrm>
                  <a:off x="4973054" y="914400"/>
                  <a:ext cx="3481135" cy="465222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it-IT" sz="1000" b="0" i="1" dirty="0" smtClea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</a:rPr>
                          <m:t>𝐼𝑁𝐹𝑂𝑅𝑀𝐴𝑍𝐼𝑂𝑁𝐸</m:t>
                        </m:r>
                        <m:r>
                          <a:rPr lang="it-IT" sz="1000" b="0" i="1" dirty="0" smtClea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it-IT" sz="1000" b="0" i="1" dirty="0" smtClea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</a:rPr>
                          <m:t>𝐻</m:t>
                        </m:r>
                      </m:oMath>
                    </m:oMathPara>
                  </a14:m>
                  <a:endParaRPr lang="it-IT" sz="1000" b="0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B06D9A9D-778B-4500-A08F-0250A51B195E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973054" y="914400"/>
                  <a:ext cx="3481135" cy="465222"/>
                </a:xfrm>
                <a:prstGeom prst="rect">
                  <a:avLst/>
                </a:prstGeom>
                <a:blipFill>
                  <a:blip r:embed="rId2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it-IT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1B4D36D7-307F-4D6A-B8C9-877CB4CE4C14}"/>
                    </a:ext>
                  </a:extLst>
                </p:cNvPr>
                <p:cNvSpPr/>
                <p:nvPr/>
              </p:nvSpPr>
              <p:spPr>
                <a:xfrm>
                  <a:off x="4973054" y="2976840"/>
                  <a:ext cx="3435012" cy="260575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it-IT" sz="1000" b="0" i="1" dirty="0" smtClea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</a:rPr>
                          <m:t>𝐶𝑂𝑀𝑃𝐿𝐸𝑆𝑆𝐼𝑇</m:t>
                        </m:r>
                        <m:r>
                          <a:rPr lang="it-IT" sz="1000" b="0" i="1" dirty="0" smtClea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</a:rPr>
                          <m:t>À</m:t>
                        </m:r>
                        <m:r>
                          <a:rPr lang="it-IT" sz="1000" b="0" i="0" dirty="0" smtClea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it-IT" sz="1000" b="0" i="1" dirty="0" smtClea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it-IT" sz="1000" b="0" i="1" dirty="0" smtClea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</a:rPr>
                          <m:t>𝐻</m:t>
                        </m:r>
                        <m:r>
                          <a:rPr lang="it-IT" sz="1000" b="0" i="1" dirty="0" smtClea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r>
                          <a:rPr lang="it-IT" sz="1000" b="0" i="1" dirty="0" smtClea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</a:rPr>
                          <m:t>𝐷</m:t>
                        </m:r>
                      </m:oMath>
                    </m:oMathPara>
                  </a14:m>
                  <a:endParaRPr lang="it-IT" sz="1000" b="0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1B4D36D7-307F-4D6A-B8C9-877CB4CE4C14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973054" y="2976840"/>
                  <a:ext cx="3435012" cy="260575"/>
                </a:xfrm>
                <a:prstGeom prst="rect">
                  <a:avLst/>
                </a:prstGeom>
                <a:blipFill>
                  <a:blip r:embed="rId3"/>
                  <a:stretch>
                    <a:fillRect t="-23810" b="-33333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it-IT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647C9D4A-967F-479F-BF76-C8DE364820E3}"/>
                    </a:ext>
                  </a:extLst>
                </p:cNvPr>
                <p:cNvSpPr/>
                <p:nvPr/>
              </p:nvSpPr>
              <p:spPr>
                <a:xfrm>
                  <a:off x="3128209" y="4478836"/>
                  <a:ext cx="3435012" cy="260575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it-IT" sz="1000" i="1" dirty="0" smtClea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</a:rPr>
                          <m:t>𝐷𝐼𝑆𝐸𝑄𝑈𝐼𝐿𝐼𝐵𝑅𝐼𝑂</m:t>
                        </m:r>
                        <m:r>
                          <a:rPr lang="it-IT" sz="1000" i="1" dirty="0" smtClea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</a:rPr>
                          <m:t> =</m:t>
                        </m:r>
                        <m:r>
                          <a:rPr lang="it-IT" sz="1000" b="0" i="1" dirty="0" smtClea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</a:rPr>
                          <m:t>𝐷</m:t>
                        </m:r>
                      </m:oMath>
                    </m:oMathPara>
                  </a14:m>
                  <a:endParaRPr lang="it-IT" sz="1000" b="0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647C9D4A-967F-479F-BF76-C8DE364820E3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128209" y="4478836"/>
                  <a:ext cx="3435012" cy="260575"/>
                </a:xfrm>
                <a:prstGeom prst="rect">
                  <a:avLst/>
                </a:prstGeom>
                <a:blipFill>
                  <a:blip r:embed="rId4"/>
                  <a:stretch>
                    <a:fillRect t="-4762" b="-52381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it-IT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2008037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86</TotalTime>
  <Words>544</Words>
  <Application>Microsoft Office PowerPoint</Application>
  <PresentationFormat>Widescreen</PresentationFormat>
  <Paragraphs>226</Paragraphs>
  <Slides>1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rial</vt:lpstr>
      <vt:lpstr>Calibri</vt:lpstr>
      <vt:lpstr>Calibri Light</vt:lpstr>
      <vt:lpstr>Cambria Math</vt:lpstr>
      <vt:lpstr>Times New Roman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ttore Minelli</dc:creator>
  <cp:lastModifiedBy>Ettore Minelli</cp:lastModifiedBy>
  <cp:revision>1</cp:revision>
  <dcterms:created xsi:type="dcterms:W3CDTF">2022-10-25T10:04:08Z</dcterms:created>
  <dcterms:modified xsi:type="dcterms:W3CDTF">2022-12-22T09:44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ppReportDate">
    <vt:lpwstr/>
  </property>
  <property fmtid="{D5CDD505-2E9C-101B-9397-08002B2CF9AE}" pid="3" name="WppReportVersion">
    <vt:lpwstr>Version 1.0</vt:lpwstr>
  </property>
  <property fmtid="{D5CDD505-2E9C-101B-9397-08002B2CF9AE}" pid="4" name="WppReportDraft">
    <vt:lpwstr>(Draft)</vt:lpwstr>
  </property>
  <property fmtid="{D5CDD505-2E9C-101B-9397-08002B2CF9AE}" pid="5" name="WppReportCurrencySymbol">
    <vt:lpwstr>$</vt:lpwstr>
  </property>
  <property fmtid="{D5CDD505-2E9C-101B-9397-08002B2CF9AE}" pid="6" name="WppReportDashboardTitleText">
    <vt:lpwstr>Dashboard</vt:lpwstr>
  </property>
  <property fmtid="{D5CDD505-2E9C-101B-9397-08002B2CF9AE}" pid="7" name="WppReportShortPageNumberFormat">
    <vt:lpwstr>Page &lt;#&gt;</vt:lpwstr>
  </property>
  <property fmtid="{D5CDD505-2E9C-101B-9397-08002B2CF9AE}" pid="8" name="WppReportLongPageNumberFormat">
    <vt:lpwstr>Page &lt;#&gt; of &lt;PageCount&gt;</vt:lpwstr>
  </property>
  <property fmtid="{D5CDD505-2E9C-101B-9397-08002B2CF9AE}" pid="9" name="WppReportTocTitleText">
    <vt:lpwstr>Table of contents</vt:lpwstr>
  </property>
  <property fmtid="{D5CDD505-2E9C-101B-9397-08002B2CF9AE}" pid="10" name="WppReportIsTocUpdateRecommended">
    <vt:bool>true</vt:bool>
  </property>
  <property fmtid="{D5CDD505-2E9C-101B-9397-08002B2CF9AE}" pid="11" name="WppReportPropertiesLastWrittenToDocument">
    <vt:filetime>2022-12-22T08:33:38Z</vt:filetime>
  </property>
</Properties>
</file>